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0.xml" ContentType="application/vnd.openxmlformats-officedocument.presentationml.tags+xml"/>
  <Override PartName="/ppt/notesSlides/notesSlide1.xml" ContentType="application/vnd.openxmlformats-officedocument.presentationml.notesSlide+xml"/>
  <Override PartName="/ppt/tags/tag31.xml" ContentType="application/vnd.openxmlformats-officedocument.presentationml.tags+xml"/>
  <Override PartName="/ppt/notesSlides/notesSlide2.xml" ContentType="application/vnd.openxmlformats-officedocument.presentationml.notesSlide+xml"/>
  <Override PartName="/ppt/tags/tag32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5"/>
  </p:notesMasterIdLst>
  <p:handoutMasterIdLst>
    <p:handoutMasterId r:id="rId6"/>
  </p:handoutMasterIdLst>
  <p:sldIdLst>
    <p:sldId id="534" r:id="rId2"/>
    <p:sldId id="538" r:id="rId3"/>
    <p:sldId id="539" r:id="rId4"/>
  </p:sldIdLst>
  <p:sldSz cx="12192000" cy="6858000"/>
  <p:notesSz cx="6858000" cy="9144000"/>
  <p:custDataLst>
    <p:tags r:id="rId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B3A"/>
    <a:srgbClr val="466171"/>
    <a:srgbClr val="5775A7"/>
    <a:srgbClr val="5DA5BB"/>
    <a:srgbClr val="C5C5C5"/>
    <a:srgbClr val="323232"/>
    <a:srgbClr val="8D8D8D"/>
    <a:srgbClr val="BABABA"/>
    <a:srgbClr val="474747"/>
    <a:srgbClr val="86868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9CF1AB2-1976-4502-BF36-3FF5EA218861}" styleName="Mittlere Formatvorlage 4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0505E3EF-67EA-436B-97B2-0124C06EBD24}" styleName="Mittlere Formatvorlage 4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46F890A9-2807-4EBB-B81D-B2AA78EC7F39}" styleName="Dunkle Formatvorlage 2 - Akzent 5/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7425" autoAdjust="0"/>
    <p:restoredTop sz="95415" autoAdjust="0"/>
  </p:normalViewPr>
  <p:slideViewPr>
    <p:cSldViewPr snapToGrid="0" showGuides="1">
      <p:cViewPr varScale="1">
        <p:scale>
          <a:sx n="90" d="100"/>
          <a:sy n="90" d="100"/>
        </p:scale>
        <p:origin x="84" y="4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72" d="100"/>
        <a:sy n="172" d="100"/>
      </p:scale>
      <p:origin x="0" y="0"/>
    </p:cViewPr>
  </p:sorterViewPr>
  <p:notesViewPr>
    <p:cSldViewPr snapToGrid="0">
      <p:cViewPr varScale="1">
        <p:scale>
          <a:sx n="94" d="100"/>
          <a:sy n="94" d="100"/>
        </p:scale>
        <p:origin x="3432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B028EFDA-A75E-49AB-9C1C-E96D5D82019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9DB3184-593B-4E78-B58C-DA62E4A2A4A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51B798-6D2C-417B-AF46-ECB70983C150}" type="datetimeFigureOut">
              <a:rPr lang="en-US" smtClean="0"/>
              <a:t>3/30/2023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15F87B-7E94-4DDB-9703-3B62B77C5F8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7C9CA73-2501-4D43-9D8D-E09D9E3F3DF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651251-5CB6-4896-AAF1-C5E7C80339F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48449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00A665-AB63-487C-A689-A96D5AA0C864}" type="datetimeFigureOut">
              <a:rPr lang="en-US" smtClean="0"/>
              <a:t>3/30/20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455821" y="1143000"/>
            <a:ext cx="3946358" cy="221982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629F0A-9DE2-44AB-9A84-CC28BAF7B39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6656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kern="1200">
        <a:solidFill>
          <a:schemeClr val="accent1"/>
        </a:solidFill>
        <a:latin typeface="+mj-lt"/>
        <a:ea typeface="+mn-ea"/>
        <a:cs typeface="+mn-cs"/>
      </a:defRPr>
    </a:lvl1pPr>
    <a:lvl2pPr marL="180975" indent="-180975" algn="l" defTabSz="914400" rtl="0" eaLnBrk="1" latinLnBrk="0" hangingPunct="1">
      <a:buClr>
        <a:schemeClr val="accent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-179388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1839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43206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8116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3.png"/><Relationship Id="rId4" Type="http://schemas.openxmlformats.org/officeDocument/2006/relationships/image" Target="../media/image2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3.png"/><Relationship Id="rId4" Type="http://schemas.openxmlformats.org/officeDocument/2006/relationships/image" Target="../media/image6.jpe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5.jpe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19.bin"/><Relationship Id="rId5" Type="http://schemas.openxmlformats.org/officeDocument/2006/relationships/image" Target="../media/image3.png"/><Relationship Id="rId4" Type="http://schemas.openxmlformats.org/officeDocument/2006/relationships/image" Target="../media/image2.jpe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3.png"/><Relationship Id="rId4" Type="http://schemas.openxmlformats.org/officeDocument/2006/relationships/image" Target="../media/image6.jpe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folie – große Headline un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21CBBBAC-B404-6745-A68A-B9CE2F38632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Bild 1">
            <a:extLst>
              <a:ext uri="{FF2B5EF4-FFF2-40B4-BE49-F238E27FC236}">
                <a16:creationId xmlns:a16="http://schemas.microsoft.com/office/drawing/2014/main" id="{DECAD4EE-ED3C-B34C-B3CA-FC1B5BF7AF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8250"/>
          <a:stretch/>
        </p:blipFill>
        <p:spPr>
          <a:xfrm>
            <a:off x="0" y="566717"/>
            <a:ext cx="12193200" cy="6292871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817" name="think-cell Folie" r:id="rId6" imgW="344" imgH="345" progId="TCLayout.ActiveDocument.1">
                  <p:embed/>
                </p:oleObj>
              </mc:Choice>
              <mc:Fallback>
                <p:oleObj name="think-cell Folie" r:id="rId6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fokus_rgb_modul">
            <a:extLst>
              <a:ext uri="{FF2B5EF4-FFF2-40B4-BE49-F238E27FC236}">
                <a16:creationId xmlns:a16="http://schemas.microsoft.com/office/drawing/2014/main" id="{4F374E07-F43F-6844-8D1A-7FD45C37244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8428" y="493487"/>
            <a:ext cx="2514600" cy="915035"/>
          </a:xfrm>
          <a:prstGeom prst="rect">
            <a:avLst/>
          </a:prstGeom>
        </p:spPr>
      </p:pic>
      <p:sp>
        <p:nvSpPr>
          <p:cNvPr id="9" name="Textplatzhalter 14">
            <a:extLst>
              <a:ext uri="{FF2B5EF4-FFF2-40B4-BE49-F238E27FC236}">
                <a16:creationId xmlns:a16="http://schemas.microsoft.com/office/drawing/2014/main" id="{518EA853-8A09-604F-92D2-A547DEEBB2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524025"/>
            <a:ext cx="7824783" cy="2981879"/>
          </a:xfrm>
          <a:noFill/>
        </p:spPr>
        <p:txBody>
          <a:bodyPr wrap="square"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 i="0">
                <a:solidFill>
                  <a:schemeClr val="bg1"/>
                </a:solidFill>
                <a:latin typeface="Frutiger LT Com 55 Roman" panose="020B0503030504020204" pitchFamily="34" charset="77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21672370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18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292547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(optional)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275" y="4069080"/>
            <a:ext cx="5437188" cy="255134"/>
          </a:xfrm>
        </p:spPr>
        <p:txBody>
          <a:bodyPr/>
          <a:lstStyle>
            <a:lvl1pPr>
              <a:spcAft>
                <a:spcPts val="1200"/>
              </a:spcAft>
              <a:defRPr/>
            </a:lvl1pPr>
          </a:lstStyle>
          <a:p>
            <a:pPr lvl="0"/>
            <a:r>
              <a:rPr lang="de-DE" noProof="0" dirty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62318" y="4069080"/>
            <a:ext cx="5436000" cy="255198"/>
          </a:xfrm>
        </p:spPr>
        <p:txBody>
          <a:bodyPr/>
          <a:lstStyle>
            <a:lvl1pPr>
              <a:spcAft>
                <a:spcPts val="1300"/>
              </a:spcAft>
              <a:defRPr/>
            </a:lvl1pPr>
          </a:lstStyle>
          <a:p>
            <a:pPr lvl="0"/>
            <a:r>
              <a:rPr lang="de-DE" noProof="0" dirty="0"/>
              <a:t>Mastertextformat bearbeiten</a:t>
            </a:r>
          </a:p>
        </p:txBody>
      </p:sp>
      <p:pic>
        <p:nvPicPr>
          <p:cNvPr id="12" name="fokus_rgb_modul">
            <a:extLst>
              <a:ext uri="{FF2B5EF4-FFF2-40B4-BE49-F238E27FC236}">
                <a16:creationId xmlns:a16="http://schemas.microsoft.com/office/drawing/2014/main" id="{3F34E698-3068-4B4A-BE26-CD81C185A6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89029" y="6253843"/>
            <a:ext cx="1946255" cy="604157"/>
          </a:xfrm>
          <a:prstGeom prst="rect">
            <a:avLst/>
          </a:prstGeom>
        </p:spPr>
      </p:pic>
      <p:sp>
        <p:nvSpPr>
          <p:cNvPr id="6" name="Bildplatzhalter 5">
            <a:extLst>
              <a:ext uri="{FF2B5EF4-FFF2-40B4-BE49-F238E27FC236}">
                <a16:creationId xmlns:a16="http://schemas.microsoft.com/office/drawing/2014/main" id="{AF0CCC17-09BE-7343-9BCA-CC3B13B57AF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8275" y="1684331"/>
            <a:ext cx="5436000" cy="2199355"/>
          </a:xfrm>
          <a:solidFill>
            <a:schemeClr val="bg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de-DE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Bildplatzhalter 5">
            <a:extLst>
              <a:ext uri="{FF2B5EF4-FFF2-40B4-BE49-F238E27FC236}">
                <a16:creationId xmlns:a16="http://schemas.microsoft.com/office/drawing/2014/main" id="{5D2E50E7-FB89-BC4F-933E-4B720307F45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62318" y="1684332"/>
            <a:ext cx="5436000" cy="2199355"/>
          </a:xfrm>
          <a:solidFill>
            <a:schemeClr val="bg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de-DE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Bild durch Klicken auf Symbol hinzufügen</a:t>
            </a:r>
          </a:p>
        </p:txBody>
      </p:sp>
      <p:sp>
        <p:nvSpPr>
          <p:cNvPr id="14" name="Datumsplatzhalter">
            <a:extLst>
              <a:ext uri="{FF2B5EF4-FFF2-40B4-BE49-F238E27FC236}">
                <a16:creationId xmlns:a16="http://schemas.microsoft.com/office/drawing/2014/main" id="{047A0822-E2E2-5340-A6B3-61F8B1E74C31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75105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24.05.22</a:t>
            </a:r>
            <a:endParaRPr lang="de-DE" sz="900" dirty="0"/>
          </a:p>
        </p:txBody>
      </p:sp>
      <p:sp>
        <p:nvSpPr>
          <p:cNvPr id="15" name="Copyright Fraunhofer">
            <a:extLst>
              <a:ext uri="{FF2B5EF4-FFF2-40B4-BE49-F238E27FC236}">
                <a16:creationId xmlns:a16="http://schemas.microsoft.com/office/drawing/2014/main" id="{C2F8BD52-0EDE-384E-AE95-B75F6788D0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6" y="6467722"/>
            <a:ext cx="5507633" cy="13049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© Fraunhofer FOKUS – Informationsklassifizierung: öffentlich</a:t>
            </a:r>
            <a:endParaRPr lang="de-DE" sz="900" dirty="0"/>
          </a:p>
        </p:txBody>
      </p:sp>
      <p:sp>
        <p:nvSpPr>
          <p:cNvPr id="16" name="Foliennummernplatzhalter 8">
            <a:extLst>
              <a:ext uri="{FF2B5EF4-FFF2-40B4-BE49-F238E27FC236}">
                <a16:creationId xmlns:a16="http://schemas.microsoft.com/office/drawing/2014/main" id="{0F190868-6AEC-8744-8EF0-A766F9A3C5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9717"/>
            <a:ext cx="720000" cy="13849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1151066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70035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57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292546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(optional)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7"/>
            <a:ext cx="3492500" cy="2797175"/>
          </a:xfrm>
        </p:spPr>
        <p:txBody>
          <a:bodyPr/>
          <a:lstStyle>
            <a:lvl1pPr>
              <a:spcAft>
                <a:spcPts val="1300"/>
              </a:spcAft>
              <a:defRPr/>
            </a:lvl1pPr>
          </a:lstStyle>
          <a:p>
            <a:pPr lvl="0"/>
            <a:r>
              <a:rPr lang="de-DE" noProof="0" dirty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32288" y="1703387"/>
            <a:ext cx="3492500" cy="2797175"/>
          </a:xfrm>
        </p:spPr>
        <p:txBody>
          <a:bodyPr/>
          <a:lstStyle>
            <a:lvl1pPr>
              <a:spcAft>
                <a:spcPts val="1300"/>
              </a:spcAft>
              <a:defRPr/>
            </a:lvl1pPr>
            <a:lvl9pPr>
              <a:buAutoNum type="arabicPeriod"/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7"/>
            <a:ext cx="3492500" cy="2797175"/>
          </a:xfrm>
        </p:spPr>
        <p:txBody>
          <a:bodyPr/>
          <a:lstStyle>
            <a:lvl1pPr>
              <a:spcAft>
                <a:spcPts val="1300"/>
              </a:spcAft>
              <a:defRPr/>
            </a:lvl1pPr>
          </a:lstStyle>
          <a:p>
            <a:pPr lvl="0"/>
            <a:r>
              <a:rPr lang="de-DE" noProof="0" dirty="0"/>
              <a:t>Mastertextformat bearbeiten</a:t>
            </a:r>
          </a:p>
        </p:txBody>
      </p:sp>
      <p:pic>
        <p:nvPicPr>
          <p:cNvPr id="12" name="fokus_rgb_modul">
            <a:extLst>
              <a:ext uri="{FF2B5EF4-FFF2-40B4-BE49-F238E27FC236}">
                <a16:creationId xmlns:a16="http://schemas.microsoft.com/office/drawing/2014/main" id="{5252F197-32E4-B144-8A0A-FFB0D8F287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89029" y="6253843"/>
            <a:ext cx="1946255" cy="604157"/>
          </a:xfrm>
          <a:prstGeom prst="rect">
            <a:avLst/>
          </a:prstGeom>
        </p:spPr>
      </p:pic>
      <p:sp>
        <p:nvSpPr>
          <p:cNvPr id="14" name="Datumsplatzhalter">
            <a:extLst>
              <a:ext uri="{FF2B5EF4-FFF2-40B4-BE49-F238E27FC236}">
                <a16:creationId xmlns:a16="http://schemas.microsoft.com/office/drawing/2014/main" id="{1D60512D-B857-0848-B766-CBAD1CFBA765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75105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24.05.22</a:t>
            </a:r>
            <a:endParaRPr lang="de-DE" sz="900" dirty="0"/>
          </a:p>
        </p:txBody>
      </p:sp>
      <p:sp>
        <p:nvSpPr>
          <p:cNvPr id="15" name="Copyright Fraunhofer">
            <a:extLst>
              <a:ext uri="{FF2B5EF4-FFF2-40B4-BE49-F238E27FC236}">
                <a16:creationId xmlns:a16="http://schemas.microsoft.com/office/drawing/2014/main" id="{BC7DC4D9-FCE4-1C4C-BA4D-6F383EFAFC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6" y="6467722"/>
            <a:ext cx="5507633" cy="13049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© Fraunhofer FOKUS – Informationsklassifizierung: öffentlich</a:t>
            </a:r>
            <a:endParaRPr lang="de-DE" sz="900" dirty="0"/>
          </a:p>
        </p:txBody>
      </p:sp>
      <p:sp>
        <p:nvSpPr>
          <p:cNvPr id="16" name="Foliennummernplatzhalter 8">
            <a:extLst>
              <a:ext uri="{FF2B5EF4-FFF2-40B4-BE49-F238E27FC236}">
                <a16:creationId xmlns:a16="http://schemas.microsoft.com/office/drawing/2014/main" id="{F99D5661-5DDC-D340-9DEB-47336DB2CB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9717"/>
            <a:ext cx="720000" cy="13849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682182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229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292546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(optional)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4075112"/>
            <a:ext cx="3492500" cy="1710898"/>
          </a:xfrm>
        </p:spPr>
        <p:txBody>
          <a:bodyPr/>
          <a:lstStyle>
            <a:lvl1pPr>
              <a:spcAft>
                <a:spcPts val="1300"/>
              </a:spcAft>
              <a:defRPr/>
            </a:lvl1pPr>
          </a:lstStyle>
          <a:p>
            <a:pPr lvl="0"/>
            <a:r>
              <a:rPr lang="de-DE" noProof="0" dirty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32288" y="4075110"/>
            <a:ext cx="3492500" cy="1711327"/>
          </a:xfrm>
        </p:spPr>
        <p:txBody>
          <a:bodyPr/>
          <a:lstStyle>
            <a:lvl1pPr>
              <a:spcAft>
                <a:spcPts val="1300"/>
              </a:spcAft>
              <a:defRPr/>
            </a:lvl1pPr>
            <a:lvl9pPr>
              <a:buAutoNum type="arabicPeriod"/>
              <a:defRPr/>
            </a:lvl9pPr>
          </a:lstStyle>
          <a:p>
            <a:pPr lvl="0"/>
            <a:r>
              <a:rPr lang="de-DE" noProof="0" dirty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4075110"/>
            <a:ext cx="3492500" cy="1711327"/>
          </a:xfrm>
        </p:spPr>
        <p:txBody>
          <a:bodyPr/>
          <a:lstStyle>
            <a:lvl1pPr>
              <a:spcAft>
                <a:spcPts val="1300"/>
              </a:spcAft>
              <a:defRPr/>
            </a:lvl1pPr>
          </a:lstStyle>
          <a:p>
            <a:pPr lvl="0"/>
            <a:r>
              <a:rPr lang="de-DE" noProof="0" dirty="0"/>
              <a:t>Mastertextformat bearbeiten</a:t>
            </a:r>
          </a:p>
        </p:txBody>
      </p:sp>
      <p:pic>
        <p:nvPicPr>
          <p:cNvPr id="12" name="fokus_rgb_modul">
            <a:extLst>
              <a:ext uri="{FF2B5EF4-FFF2-40B4-BE49-F238E27FC236}">
                <a16:creationId xmlns:a16="http://schemas.microsoft.com/office/drawing/2014/main" id="{5252F197-32E4-B144-8A0A-FFB0D8F287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89029" y="6253843"/>
            <a:ext cx="1946255" cy="604157"/>
          </a:xfrm>
          <a:prstGeom prst="rect">
            <a:avLst/>
          </a:prstGeom>
        </p:spPr>
      </p:pic>
      <p:sp>
        <p:nvSpPr>
          <p:cNvPr id="14" name="Bildplatzhalter 5">
            <a:extLst>
              <a:ext uri="{FF2B5EF4-FFF2-40B4-BE49-F238E27FC236}">
                <a16:creationId xmlns:a16="http://schemas.microsoft.com/office/drawing/2014/main" id="{9A4E2BED-3D50-D14E-8EF8-BA253C41E7B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68276" y="1684331"/>
            <a:ext cx="3502424" cy="2199355"/>
          </a:xfrm>
          <a:solidFill>
            <a:schemeClr val="bg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de-DE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5" name="Bildplatzhalter 5">
            <a:extLst>
              <a:ext uri="{FF2B5EF4-FFF2-40B4-BE49-F238E27FC236}">
                <a16:creationId xmlns:a16="http://schemas.microsoft.com/office/drawing/2014/main" id="{113B829A-1E27-FB4F-A28E-5FFFB23A9A0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332288" y="1684332"/>
            <a:ext cx="3492500" cy="2199355"/>
          </a:xfrm>
          <a:solidFill>
            <a:schemeClr val="bg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de-DE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Bild durch Klicken auf Symbol hinzufügen</a:t>
            </a:r>
          </a:p>
        </p:txBody>
      </p:sp>
      <p:sp>
        <p:nvSpPr>
          <p:cNvPr id="16" name="Bildplatzhalter 5">
            <a:extLst>
              <a:ext uri="{FF2B5EF4-FFF2-40B4-BE49-F238E27FC236}">
                <a16:creationId xmlns:a16="http://schemas.microsoft.com/office/drawing/2014/main" id="{14599E2C-4219-1C4A-96FF-C7AC3232C4C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204201" y="1684332"/>
            <a:ext cx="3492500" cy="2199355"/>
          </a:xfrm>
          <a:solidFill>
            <a:schemeClr val="bg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de-DE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Bild durch Klicken auf Symbol hinzufügen</a:t>
            </a:r>
          </a:p>
        </p:txBody>
      </p:sp>
      <p:sp>
        <p:nvSpPr>
          <p:cNvPr id="17" name="Datumsplatzhalter">
            <a:extLst>
              <a:ext uri="{FF2B5EF4-FFF2-40B4-BE49-F238E27FC236}">
                <a16:creationId xmlns:a16="http://schemas.microsoft.com/office/drawing/2014/main" id="{F4609D5D-B0C5-AF43-ADAE-83F726521241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75105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24.05.22</a:t>
            </a:r>
            <a:endParaRPr lang="de-DE" sz="900" dirty="0"/>
          </a:p>
        </p:txBody>
      </p:sp>
      <p:sp>
        <p:nvSpPr>
          <p:cNvPr id="18" name="Copyright Fraunhofer">
            <a:extLst>
              <a:ext uri="{FF2B5EF4-FFF2-40B4-BE49-F238E27FC236}">
                <a16:creationId xmlns:a16="http://schemas.microsoft.com/office/drawing/2014/main" id="{8AEB3949-CA86-454C-BE3C-E3240DC138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6" y="6467722"/>
            <a:ext cx="5507633" cy="13049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© Fraunhofer FOKUS – Informationsklassifizierung: öffentlich</a:t>
            </a:r>
            <a:endParaRPr lang="de-DE" sz="900" dirty="0"/>
          </a:p>
        </p:txBody>
      </p:sp>
      <p:sp>
        <p:nvSpPr>
          <p:cNvPr id="19" name="Foliennummernplatzhalter 8">
            <a:extLst>
              <a:ext uri="{FF2B5EF4-FFF2-40B4-BE49-F238E27FC236}">
                <a16:creationId xmlns:a16="http://schemas.microsoft.com/office/drawing/2014/main" id="{1A29074F-3135-024E-8B87-74D3B73E8F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9717"/>
            <a:ext cx="720000" cy="13849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3630853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78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03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292546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(optional)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2520950" cy="2932112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95663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5388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191625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pic>
        <p:nvPicPr>
          <p:cNvPr id="16" name="fokus_rgb_modul">
            <a:extLst>
              <a:ext uri="{FF2B5EF4-FFF2-40B4-BE49-F238E27FC236}">
                <a16:creationId xmlns:a16="http://schemas.microsoft.com/office/drawing/2014/main" id="{852E3A50-8E55-2F44-B9DB-FD2D4E6D02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89029" y="6253843"/>
            <a:ext cx="1946255" cy="604157"/>
          </a:xfrm>
          <a:prstGeom prst="rect">
            <a:avLst/>
          </a:prstGeom>
        </p:spPr>
      </p:pic>
      <p:sp>
        <p:nvSpPr>
          <p:cNvPr id="17" name="Datumsplatzhalter">
            <a:extLst>
              <a:ext uri="{FF2B5EF4-FFF2-40B4-BE49-F238E27FC236}">
                <a16:creationId xmlns:a16="http://schemas.microsoft.com/office/drawing/2014/main" id="{E2A8EFC9-0195-5743-BE04-03143A4BD225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75105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24.05.22</a:t>
            </a:r>
            <a:endParaRPr lang="de-DE" sz="900" dirty="0"/>
          </a:p>
        </p:txBody>
      </p:sp>
      <p:sp>
        <p:nvSpPr>
          <p:cNvPr id="18" name="Copyright Fraunhofer">
            <a:extLst>
              <a:ext uri="{FF2B5EF4-FFF2-40B4-BE49-F238E27FC236}">
                <a16:creationId xmlns:a16="http://schemas.microsoft.com/office/drawing/2014/main" id="{EC9ADA81-343B-D04D-A0B5-73A99A97D4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6" y="6467722"/>
            <a:ext cx="5507633" cy="13049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© Fraunhofer FOKUS – Informationsklassifizierung: öffentlich</a:t>
            </a:r>
            <a:endParaRPr lang="de-DE" sz="900" dirty="0"/>
          </a:p>
        </p:txBody>
      </p:sp>
      <p:sp>
        <p:nvSpPr>
          <p:cNvPr id="19" name="Foliennummernplatzhalter 8">
            <a:extLst>
              <a:ext uri="{FF2B5EF4-FFF2-40B4-BE49-F238E27FC236}">
                <a16:creationId xmlns:a16="http://schemas.microsoft.com/office/drawing/2014/main" id="{1B462698-8CC7-CE48-9737-CBAE33D80E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9717"/>
            <a:ext cx="720000" cy="13849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347060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 userDrawn="1">
          <p15:clr>
            <a:srgbClr val="FBAE40"/>
          </p15:clr>
        </p15:guide>
        <p15:guide id="4" pos="1890" userDrawn="1">
          <p15:clr>
            <a:srgbClr val="FBAE40"/>
          </p15:clr>
        </p15:guide>
        <p15:guide id="5" pos="5541" userDrawn="1">
          <p15:clr>
            <a:srgbClr val="FBAE40"/>
          </p15:clr>
        </p15:guide>
        <p15:guide id="6" pos="579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4253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61F0DBA5-C1B0-44DC-A359-F53055D10B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/>
              <a:t>24.05.22</a:t>
            </a:r>
            <a:endParaRPr lang="de-DE" noProof="0" dirty="0"/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3A411D1E-2AF9-4CC5-AEC7-0C6DF157F5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FOKUS – Informationsklassifizierung: öffentlich</a:t>
            </a:r>
            <a:endParaRPr lang="de-DE" noProof="0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4828F296-FF06-4CDF-A47F-F729AA31C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292546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(optional)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4052813"/>
            <a:ext cx="2520950" cy="1797957"/>
          </a:xfrm>
        </p:spPr>
        <p:txBody>
          <a:bodyPr/>
          <a:lstStyle>
            <a:lvl1pPr>
              <a:spcAft>
                <a:spcPts val="1300"/>
              </a:spcAft>
              <a:defRPr/>
            </a:lvl1pPr>
          </a:lstStyle>
          <a:p>
            <a:pPr lvl="0"/>
            <a:r>
              <a:rPr lang="de-DE" noProof="0" dirty="0"/>
              <a:t>Mastertext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95663" y="4045631"/>
            <a:ext cx="2530872" cy="1797957"/>
          </a:xfrm>
        </p:spPr>
        <p:txBody>
          <a:bodyPr/>
          <a:lstStyle>
            <a:lvl1pPr>
              <a:spcAft>
                <a:spcPts val="1300"/>
              </a:spcAft>
              <a:defRPr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5388" y="4045631"/>
            <a:ext cx="2520950" cy="1797957"/>
          </a:xfrm>
        </p:spPr>
        <p:txBody>
          <a:bodyPr/>
          <a:lstStyle>
            <a:lvl1pPr>
              <a:spcAft>
                <a:spcPts val="1300"/>
              </a:spcAft>
              <a:defRPr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191625" y="4045631"/>
            <a:ext cx="2520950" cy="1797957"/>
          </a:xfrm>
        </p:spPr>
        <p:txBody>
          <a:bodyPr/>
          <a:lstStyle>
            <a:lvl1pPr>
              <a:spcAft>
                <a:spcPts val="1300"/>
              </a:spcAft>
              <a:defRPr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pic>
        <p:nvPicPr>
          <p:cNvPr id="16" name="fokus_rgb_modul">
            <a:extLst>
              <a:ext uri="{FF2B5EF4-FFF2-40B4-BE49-F238E27FC236}">
                <a16:creationId xmlns:a16="http://schemas.microsoft.com/office/drawing/2014/main" id="{852E3A50-8E55-2F44-B9DB-FD2D4E6D02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89029" y="6253843"/>
            <a:ext cx="1946255" cy="604157"/>
          </a:xfrm>
          <a:prstGeom prst="rect">
            <a:avLst/>
          </a:prstGeom>
        </p:spPr>
      </p:pic>
      <p:sp>
        <p:nvSpPr>
          <p:cNvPr id="18" name="Bildplatzhalter 5">
            <a:extLst>
              <a:ext uri="{FF2B5EF4-FFF2-40B4-BE49-F238E27FC236}">
                <a16:creationId xmlns:a16="http://schemas.microsoft.com/office/drawing/2014/main" id="{707D48C0-11A5-5E41-8E17-CE8DEF26EF2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68276" y="1684332"/>
            <a:ext cx="2530873" cy="2199356"/>
          </a:xfrm>
          <a:solidFill>
            <a:schemeClr val="bg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de-DE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9" name="Bildplatzhalter 5">
            <a:extLst>
              <a:ext uri="{FF2B5EF4-FFF2-40B4-BE49-F238E27FC236}">
                <a16:creationId xmlns:a16="http://schemas.microsoft.com/office/drawing/2014/main" id="{4EAE14B8-1175-2B4F-8F9D-51B81BA3BBFD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95663" y="1684332"/>
            <a:ext cx="2530873" cy="2199356"/>
          </a:xfrm>
          <a:solidFill>
            <a:schemeClr val="bg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de-DE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0" name="Bildplatzhalter 5">
            <a:extLst>
              <a:ext uri="{FF2B5EF4-FFF2-40B4-BE49-F238E27FC236}">
                <a16:creationId xmlns:a16="http://schemas.microsoft.com/office/drawing/2014/main" id="{73410C41-24FC-274D-B538-972E47F6819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69001" y="1684332"/>
            <a:ext cx="2530873" cy="2199356"/>
          </a:xfrm>
          <a:solidFill>
            <a:schemeClr val="bg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de-DE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Bildplatzhalter 5">
            <a:extLst>
              <a:ext uri="{FF2B5EF4-FFF2-40B4-BE49-F238E27FC236}">
                <a16:creationId xmlns:a16="http://schemas.microsoft.com/office/drawing/2014/main" id="{D353F5B3-ADFF-C84C-9F6D-439BD7E42F1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196388" y="1684332"/>
            <a:ext cx="2530873" cy="2199356"/>
          </a:xfrm>
          <a:solidFill>
            <a:schemeClr val="bg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de-DE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17555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>
          <p15:clr>
            <a:srgbClr val="FBAE40"/>
          </p15:clr>
        </p15:guide>
        <p15:guide id="4" pos="1890">
          <p15:clr>
            <a:srgbClr val="FBAE40"/>
          </p15:clr>
        </p15:guide>
        <p15:guide id="5" pos="5541">
          <p15:clr>
            <a:srgbClr val="FBAE40"/>
          </p15:clr>
        </p15:guide>
        <p15:guide id="6" pos="579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_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93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fokus_rgb_modul">
            <a:extLst>
              <a:ext uri="{FF2B5EF4-FFF2-40B4-BE49-F238E27FC236}">
                <a16:creationId xmlns:a16="http://schemas.microsoft.com/office/drawing/2014/main" id="{AEFB90C4-1AC5-4D4B-9753-7653C3D8A8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89029" y="6253843"/>
            <a:ext cx="1946255" cy="604157"/>
          </a:xfrm>
          <a:prstGeom prst="rect">
            <a:avLst/>
          </a:prstGeom>
        </p:spPr>
      </p:pic>
      <p:sp>
        <p:nvSpPr>
          <p:cNvPr id="4" name="Bildplatzhalter 3">
            <a:extLst>
              <a:ext uri="{FF2B5EF4-FFF2-40B4-BE49-F238E27FC236}">
                <a16:creationId xmlns:a16="http://schemas.microsoft.com/office/drawing/2014/main" id="{3E48FEFF-8829-5B4C-931F-71B18B63C74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15632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0" name="Datumsplatzhalter">
            <a:extLst>
              <a:ext uri="{FF2B5EF4-FFF2-40B4-BE49-F238E27FC236}">
                <a16:creationId xmlns:a16="http://schemas.microsoft.com/office/drawing/2014/main" id="{0823CE7A-0F54-0548-936B-16E04BDB66A5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75105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24.05.22</a:t>
            </a:r>
            <a:endParaRPr lang="de-DE" sz="900" dirty="0"/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CCFE778D-F20B-814A-A76E-BDE35C5215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6" y="6467722"/>
            <a:ext cx="5507633" cy="13049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© Fraunhofer FOKUS – Informationsklassifizierung: öffentlich</a:t>
            </a:r>
            <a:endParaRPr lang="de-DE" sz="900" dirty="0"/>
          </a:p>
        </p:txBody>
      </p:sp>
      <p:sp>
        <p:nvSpPr>
          <p:cNvPr id="14" name="Foliennummernplatzhalter 8">
            <a:extLst>
              <a:ext uri="{FF2B5EF4-FFF2-40B4-BE49-F238E27FC236}">
                <a16:creationId xmlns:a16="http://schemas.microsoft.com/office/drawing/2014/main" id="{53AE7AC4-CBC0-B342-B4F3-7947CCF4EE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9717"/>
            <a:ext cx="720000" cy="13849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8666204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itat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A2D60F38-DAD9-9C47-B628-662959D275F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178731"/>
          </a:xfrm>
          <a:prstGeom prst="rect">
            <a:avLst/>
          </a:prstGeom>
        </p:spPr>
      </p:pic>
      <p:pic>
        <p:nvPicPr>
          <p:cNvPr id="13" name="Bild 1">
            <a:extLst>
              <a:ext uri="{FF2B5EF4-FFF2-40B4-BE49-F238E27FC236}">
                <a16:creationId xmlns:a16="http://schemas.microsoft.com/office/drawing/2014/main" id="{FDC31B45-FEC9-7242-83D3-809F861B48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8367"/>
          <a:stretch/>
        </p:blipFill>
        <p:spPr>
          <a:xfrm>
            <a:off x="1975" y="550389"/>
            <a:ext cx="12193200" cy="5598952"/>
          </a:xfrm>
          <a:prstGeom prst="rect">
            <a:avLst/>
          </a:prstGeom>
        </p:spPr>
      </p:pic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099" name="think-cell Folie" r:id="rId6" imgW="344" imgH="345" progId="TCLayout.ActiveDocument.1">
                  <p:embed/>
                </p:oleObj>
              </mc:Choice>
              <mc:Fallback>
                <p:oleObj name="think-cell Folie" r:id="rId6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FE2E23E-A04B-4A3C-9731-269F09B3618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noProof="0"/>
              <a:t>24.05.22</a:t>
            </a:r>
            <a:endParaRPr lang="de-DE" noProof="0" dirty="0"/>
          </a:p>
        </p:txBody>
      </p:sp>
      <p:sp>
        <p:nvSpPr>
          <p:cNvPr id="17" name="Copyright Fraunhofer">
            <a:extLst>
              <a:ext uri="{FF2B5EF4-FFF2-40B4-BE49-F238E27FC236}">
                <a16:creationId xmlns:a16="http://schemas.microsoft.com/office/drawing/2014/main" id="{7BF1A88B-92B6-448D-B293-70A607B2651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FOKUS – Informationsklassifizierung: öffentlich</a:t>
            </a:r>
            <a:endParaRPr lang="de-DE" noProof="0" dirty="0"/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9320B56D-3BA0-4D7D-91B3-67F9A11E4A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9" name="fokus_rgb_modul">
            <a:extLst>
              <a:ext uri="{FF2B5EF4-FFF2-40B4-BE49-F238E27FC236}">
                <a16:creationId xmlns:a16="http://schemas.microsoft.com/office/drawing/2014/main" id="{D309F1AF-97BD-1849-94CC-53663CA869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89029" y="6253843"/>
            <a:ext cx="1946255" cy="604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37091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3CE2A8B-DF0C-4ED8-B188-C82210FB66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2440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6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2593715C-3DC0-4E6F-AC38-9875A9DF0C1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75388" y="0"/>
            <a:ext cx="5916612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4EB5820C-E708-4B83-B2D5-A17747D22EE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noProof="0"/>
              <a:t>24.05.22</a:t>
            </a:r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D2144230-B8EC-476B-931A-D0CD27889EE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FOKUS – Informationsklassifizierung: öffentlich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A1FBFD26-99E1-4A8F-A74A-F6ADF2E2D81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4FD108-BE77-4119-8953-7B3B60E98A0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5437188" cy="2909514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pic>
        <p:nvPicPr>
          <p:cNvPr id="13" name="fokus_rgb_modul">
            <a:extLst>
              <a:ext uri="{FF2B5EF4-FFF2-40B4-BE49-F238E27FC236}">
                <a16:creationId xmlns:a16="http://schemas.microsoft.com/office/drawing/2014/main" id="{F07C76E7-C1F8-4A4E-B09B-8E5D21C185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89029" y="6253843"/>
            <a:ext cx="1946255" cy="604157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0A8CDE94-C1F5-834F-80D5-3FADC76D9F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638476"/>
            <a:ext cx="11233150" cy="382733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E841D046-40E0-9449-A357-2970269F3E1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9425" y="292546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(optional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88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D3ED57BE-37A9-4D96-8E88-2396C1186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1807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17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1458B9F-36A1-41C9-BED5-48660CBF7B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0075" y="0"/>
            <a:ext cx="3971925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3A55FE10-1600-4EC9-BD53-2AD0F1FF5A2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noProof="0"/>
              <a:t>24.05.22</a:t>
            </a:r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3F46C379-14E1-4C3E-81B3-2514BD91D6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FOKUS – Informationsklassifizierung: öffentlich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1983DEDE-C1BC-4CFF-B990-BF9CE174A5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813626-B371-440A-B685-32C75971336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2D2D81B-2964-4DEB-9973-66C95A1B00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2288" y="1703388"/>
            <a:ext cx="3492500" cy="261937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pic>
        <p:nvPicPr>
          <p:cNvPr id="13" name="fokus_rgb_modul">
            <a:extLst>
              <a:ext uri="{FF2B5EF4-FFF2-40B4-BE49-F238E27FC236}">
                <a16:creationId xmlns:a16="http://schemas.microsoft.com/office/drawing/2014/main" id="{6DF73B07-02FD-0C48-8DA8-AD4BB073F4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89029" y="6253843"/>
            <a:ext cx="1946255" cy="604157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5173E4AD-9390-024B-B270-D02C719922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651728"/>
            <a:ext cx="7507288" cy="368603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F3DF9007-42D9-454E-A8AD-BB75AD302D7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425" y="292546"/>
            <a:ext cx="7507288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(optional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5848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1888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8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700213"/>
            <a:ext cx="5437188" cy="2640595"/>
          </a:xfrm>
        </p:spPr>
        <p:txBody>
          <a:bodyPr numCol="1" spcCol="360000"/>
          <a:lstStyle>
            <a:lvl5pPr>
              <a:defRPr/>
            </a:lvl5pPr>
            <a:lvl8pPr>
              <a:buAutoNum type="arabicPeriod"/>
              <a:defRPr/>
            </a:lvl8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A80A6E1-2019-439E-8E86-0046D913F8D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noProof="0"/>
              <a:t>24.05.22</a:t>
            </a:r>
            <a:endParaRPr lang="de-DE" noProof="0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F3CF5D9C-18A9-4FD1-BF61-90B1DF40DAE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FOKUS – Informationsklassifizierung: öffentlich</a:t>
            </a:r>
            <a:endParaRPr lang="de-DE" noProof="0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C7C1689-11E8-41AB-9458-DE44740E23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02979DCD-35B3-46F6-8E1A-F75179508D3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5388" y="1700213"/>
            <a:ext cx="5437187" cy="2640595"/>
          </a:xfrm>
        </p:spPr>
        <p:txBody>
          <a:bodyPr numCol="1"/>
          <a:lstStyle/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12" name="fokus_rgb_modul">
            <a:extLst>
              <a:ext uri="{FF2B5EF4-FFF2-40B4-BE49-F238E27FC236}">
                <a16:creationId xmlns:a16="http://schemas.microsoft.com/office/drawing/2014/main" id="{EB154F4C-86AF-E74A-B3CC-F49B98FA07A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89029" y="6253843"/>
            <a:ext cx="1946255" cy="604157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24ACD405-76FA-E643-8B7E-DE63742D9B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638476"/>
            <a:ext cx="11233150" cy="382733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3B0F592C-8B44-C247-84BE-1B4A95CA39E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9425" y="292546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(optional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3339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Szene, Straße, Stadt, Weg enthält.&#10;&#10;Automatisch generierte Beschreibung">
            <a:extLst>
              <a:ext uri="{FF2B5EF4-FFF2-40B4-BE49-F238E27FC236}">
                <a16:creationId xmlns:a16="http://schemas.microsoft.com/office/drawing/2014/main" id="{860BEF0E-2CB1-2C44-AF5F-A8D4D23C50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67" y="-1"/>
            <a:ext cx="12192167" cy="6865257"/>
          </a:xfrm>
          <a:prstGeom prst="rect">
            <a:avLst/>
          </a:prstGeom>
        </p:spPr>
      </p:pic>
      <p:sp>
        <p:nvSpPr>
          <p:cNvPr id="12" name="Textplatzhalter 4" descr="Headline">
            <a:extLst>
              <a:ext uri="{FF2B5EF4-FFF2-40B4-BE49-F238E27FC236}">
                <a16:creationId xmlns:a16="http://schemas.microsoft.com/office/drawing/2014/main" id="{162B3F8F-2A74-A042-B29C-D4B98059DE4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0" y="2511136"/>
            <a:ext cx="7824783" cy="2994768"/>
          </a:xfrm>
          <a:prstGeom prst="rect">
            <a:avLst/>
          </a:prstGeom>
          <a:gradFill>
            <a:gsLst>
              <a:gs pos="52000">
                <a:srgbClr val="00779A">
                  <a:alpha val="95000"/>
                </a:srgbClr>
              </a:gs>
              <a:gs pos="13000">
                <a:srgbClr val="014A6B">
                  <a:alpha val="95000"/>
                </a:srgbClr>
              </a:gs>
              <a:gs pos="76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</a:gradFill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0905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14">
            <a:extLst>
              <a:ext uri="{FF2B5EF4-FFF2-40B4-BE49-F238E27FC236}">
                <a16:creationId xmlns:a16="http://schemas.microsoft.com/office/drawing/2014/main" id="{6BEF8FD8-90E0-C34F-8D21-05B9C7BC9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524025"/>
            <a:ext cx="7824783" cy="2981879"/>
          </a:xfrm>
          <a:gradFill flip="none" rotWithShape="1">
            <a:gsLst>
              <a:gs pos="56000">
                <a:srgbClr val="1E7992">
                  <a:alpha val="95000"/>
                </a:srgbClr>
              </a:gs>
              <a:gs pos="22000">
                <a:srgbClr val="014A6B">
                  <a:alpha val="95000"/>
                </a:srgbClr>
              </a:gs>
              <a:gs pos="75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 i="0">
                <a:solidFill>
                  <a:schemeClr val="bg1"/>
                </a:solidFill>
                <a:latin typeface="Frutiger LT Com 55 Roman" panose="020B0503030504020204" pitchFamily="34" charset="77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21745236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Info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220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87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700213"/>
            <a:ext cx="5916613" cy="4161744"/>
          </a:xfrm>
          <a:gradFill flip="none" rotWithShape="1">
            <a:gsLst>
              <a:gs pos="56000">
                <a:srgbClr val="1E7992">
                  <a:alpha val="95000"/>
                </a:srgbClr>
              </a:gs>
              <a:gs pos="22000">
                <a:srgbClr val="014A6B">
                  <a:alpha val="95000"/>
                </a:srgbClr>
              </a:gs>
              <a:gs pos="75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vert="horz" wrap="square" lIns="486000" tIns="360000" rIns="360000" bIns="360000" rtlCol="0" anchor="t">
            <a:noAutofit/>
          </a:bodyPr>
          <a:lstStyle>
            <a:lvl1pPr>
              <a:spcAft>
                <a:spcPts val="0"/>
              </a:spcAft>
              <a:defRPr lang="de-DE" sz="2000" dirty="0"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>
              <a:spcAft>
                <a:spcPts val="0"/>
              </a:spcAft>
            </a:pPr>
            <a:r>
              <a:rPr lang="de-DE" dirty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1700213"/>
            <a:ext cx="5437187" cy="277729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7C33152-44C8-4D5F-8A14-F5A77C4509A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 noProof="0"/>
              <a:t>24.05.22</a:t>
            </a:r>
            <a:endParaRPr lang="de-DE" noProof="0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E4293628-7C4E-4B40-9C44-4455388844A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FOKUS – Informationsklassifizierung: öffentlich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82CBCEFF-ED55-43F4-840E-11635FF54F1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13" name="fokus_rgb_modul">
            <a:extLst>
              <a:ext uri="{FF2B5EF4-FFF2-40B4-BE49-F238E27FC236}">
                <a16:creationId xmlns:a16="http://schemas.microsoft.com/office/drawing/2014/main" id="{0C5DE296-A3F2-B245-9A5E-737907F35D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89029" y="6253843"/>
            <a:ext cx="1946255" cy="604157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A9A86A7A-1342-B341-85A9-D3D33641D9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638476"/>
            <a:ext cx="11233150" cy="382733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92F6041B-56F9-3840-A020-9CB05DCCAFD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292546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(optional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86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1824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7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>
            <a:extLst>
              <a:ext uri="{FF2B5EF4-FFF2-40B4-BE49-F238E27FC236}">
                <a16:creationId xmlns:a16="http://schemas.microsoft.com/office/drawing/2014/main" id="{30FDEE22-4D74-4924-86C5-CF41B7A9F583}"/>
              </a:ext>
            </a:extLst>
          </p:cNvPr>
          <p:cNvSpPr/>
          <p:nvPr userDrawn="1"/>
        </p:nvSpPr>
        <p:spPr bwMode="gray">
          <a:xfrm>
            <a:off x="479425" y="1134790"/>
            <a:ext cx="473886" cy="8754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4"/>
            <a:ext cx="11233150" cy="3223680"/>
          </a:xfrm>
        </p:spPr>
        <p:txBody>
          <a:bodyPr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accent2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accent2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 b="0">
                <a:solidFill>
                  <a:schemeClr val="accent2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accent2"/>
                </a:solidFill>
              </a:defRPr>
            </a:lvl4pPr>
          </a:lstStyle>
          <a:p>
            <a:pPr lvl="0"/>
            <a:r>
              <a:rPr lang="de-DE" dirty="0"/>
              <a:t>Zitat</a:t>
            </a:r>
          </a:p>
          <a:p>
            <a:pPr lvl="1"/>
            <a:r>
              <a:rPr lang="de-DE" dirty="0"/>
              <a:t>Name des Autors</a:t>
            </a:r>
          </a:p>
          <a:p>
            <a:pPr lvl="2"/>
            <a:r>
              <a:rPr lang="de-DE" dirty="0"/>
              <a:t>Position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B30F5BB5-7863-4504-94A4-F39A72E20BF2}"/>
              </a:ext>
            </a:extLst>
          </p:cNvPr>
          <p:cNvGrpSpPr/>
          <p:nvPr userDrawn="1"/>
        </p:nvGrpSpPr>
        <p:grpSpPr>
          <a:xfrm>
            <a:off x="621507" y="476249"/>
            <a:ext cx="1266824" cy="1028701"/>
            <a:chOff x="621507" y="476249"/>
            <a:chExt cx="1266824" cy="1028701"/>
          </a:xfrm>
        </p:grpSpPr>
        <p:sp>
          <p:nvSpPr>
            <p:cNvPr id="3" name="Pfeil: Chevron 2">
              <a:extLst>
                <a:ext uri="{FF2B5EF4-FFF2-40B4-BE49-F238E27FC236}">
                  <a16:creationId xmlns:a16="http://schemas.microsoft.com/office/drawing/2014/main" id="{80955E3B-8357-4836-8592-3039D01F1391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" name="Pfeil: Chevron 18">
              <a:extLst>
                <a:ext uri="{FF2B5EF4-FFF2-40B4-BE49-F238E27FC236}">
                  <a16:creationId xmlns:a16="http://schemas.microsoft.com/office/drawing/2014/main" id="{8245CA0A-C731-43B3-A4D1-99935FA2DE2F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2285A88-12D6-4461-A4C7-1D177C10FE4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noProof="0"/>
              <a:t>24.05.22</a:t>
            </a:r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98C3B39-287A-4DC2-86D1-47762D2F82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FOKUS – Informationsklassifizierung: öffentlich</a:t>
            </a:r>
            <a:endParaRPr lang="de-DE" noProof="0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A36F7860-0DEC-4D26-A4CA-9345FD189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12" name="fokus_rgb_modul">
            <a:extLst>
              <a:ext uri="{FF2B5EF4-FFF2-40B4-BE49-F238E27FC236}">
                <a16:creationId xmlns:a16="http://schemas.microsoft.com/office/drawing/2014/main" id="{CBB2D737-A230-7D4A-A72A-F96587074B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89029" y="6253843"/>
            <a:ext cx="1946255" cy="604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372218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5574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5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FE2E23E-A04B-4A3C-9731-269F09B3618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noProof="0"/>
              <a:t>24.05.22</a:t>
            </a:r>
            <a:endParaRPr lang="de-DE" noProof="0" dirty="0"/>
          </a:p>
        </p:txBody>
      </p:sp>
      <p:sp>
        <p:nvSpPr>
          <p:cNvPr id="17" name="Copyright Fraunhofer">
            <a:extLst>
              <a:ext uri="{FF2B5EF4-FFF2-40B4-BE49-F238E27FC236}">
                <a16:creationId xmlns:a16="http://schemas.microsoft.com/office/drawing/2014/main" id="{7BF1A88B-92B6-448D-B293-70A607B2651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FOKUS – Informationsklassifizierung: öffentlich</a:t>
            </a:r>
            <a:endParaRPr lang="de-DE" noProof="0" dirty="0"/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9320B56D-3BA0-4D7D-91B3-67F9A11E4A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A2D60F38-DAD9-9C47-B628-662959D275F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2000" cy="6143624"/>
          </a:xfrm>
          <a:prstGeom prst="rect">
            <a:avLst/>
          </a:prstGeom>
        </p:spPr>
      </p:pic>
      <p:pic>
        <p:nvPicPr>
          <p:cNvPr id="13" name="Bild 1">
            <a:extLst>
              <a:ext uri="{FF2B5EF4-FFF2-40B4-BE49-F238E27FC236}">
                <a16:creationId xmlns:a16="http://schemas.microsoft.com/office/drawing/2014/main" id="{FDC31B45-FEC9-7242-83D3-809F861B48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8367"/>
          <a:stretch/>
        </p:blipFill>
        <p:spPr>
          <a:xfrm>
            <a:off x="0" y="550391"/>
            <a:ext cx="12193200" cy="5593231"/>
          </a:xfrm>
          <a:prstGeom prst="rect">
            <a:avLst/>
          </a:prstGeom>
        </p:spPr>
      </p:pic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3516740"/>
          </a:xfrm>
        </p:spPr>
        <p:txBody>
          <a:bodyPr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bg1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 dirty="0"/>
              <a:t>Zitat</a:t>
            </a:r>
          </a:p>
          <a:p>
            <a:pPr lvl="1"/>
            <a:r>
              <a:rPr lang="de-DE" dirty="0"/>
              <a:t>Name des Autors</a:t>
            </a:r>
          </a:p>
          <a:p>
            <a:pPr lvl="2"/>
            <a:r>
              <a:rPr lang="de-DE" dirty="0"/>
              <a:t>Position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942B2AF3-B72B-4E51-98E8-276E33E081FB}"/>
              </a:ext>
            </a:extLst>
          </p:cNvPr>
          <p:cNvGrpSpPr/>
          <p:nvPr userDrawn="1"/>
        </p:nvGrpSpPr>
        <p:grpSpPr>
          <a:xfrm>
            <a:off x="621507" y="476249"/>
            <a:ext cx="1266824" cy="1028701"/>
            <a:chOff x="621507" y="476249"/>
            <a:chExt cx="1266824" cy="1028701"/>
          </a:xfrm>
          <a:solidFill>
            <a:schemeClr val="bg1"/>
          </a:solidFill>
        </p:grpSpPr>
        <p:sp>
          <p:nvSpPr>
            <p:cNvPr id="21" name="Pfeil: Chevron 20">
              <a:extLst>
                <a:ext uri="{FF2B5EF4-FFF2-40B4-BE49-F238E27FC236}">
                  <a16:creationId xmlns:a16="http://schemas.microsoft.com/office/drawing/2014/main" id="{A9E48764-AC81-446C-B62C-88A8F03B3803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" name="Pfeil: Chevron 21">
              <a:extLst>
                <a:ext uri="{FF2B5EF4-FFF2-40B4-BE49-F238E27FC236}">
                  <a16:creationId xmlns:a16="http://schemas.microsoft.com/office/drawing/2014/main" id="{14C3BCAC-351B-4AFA-8D18-F61D609E40E4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pic>
        <p:nvPicPr>
          <p:cNvPr id="14" name="fokus_rgb_modul">
            <a:extLst>
              <a:ext uri="{FF2B5EF4-FFF2-40B4-BE49-F238E27FC236}">
                <a16:creationId xmlns:a16="http://schemas.microsoft.com/office/drawing/2014/main" id="{5A58DBAB-CAA9-5B49-B9CB-176077C443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89029" y="6253843"/>
            <a:ext cx="1946255" cy="604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61624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ontaktfolie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4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53000">
                <a:srgbClr val="00779A"/>
              </a:gs>
              <a:gs pos="20000">
                <a:srgbClr val="014A6B">
                  <a:alpha val="95000"/>
                </a:srgbClr>
              </a:gs>
              <a:gs pos="76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1" i="0">
                <a:solidFill>
                  <a:schemeClr val="bg1"/>
                </a:solidFill>
                <a:latin typeface="Frutiger LT Com 55 Roman" panose="020B0503030504020204" pitchFamily="34" charset="77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  <p:pic>
        <p:nvPicPr>
          <p:cNvPr id="8" name="fokus_rgb_modul">
            <a:extLst>
              <a:ext uri="{FF2B5EF4-FFF2-40B4-BE49-F238E27FC236}">
                <a16:creationId xmlns:a16="http://schemas.microsoft.com/office/drawing/2014/main" id="{1AC9B1E9-58C8-2B47-8511-F7E02357369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8428" y="493487"/>
            <a:ext cx="2514600" cy="915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706569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ha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430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15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pic>
        <p:nvPicPr>
          <p:cNvPr id="8" name="fokus_rgb_modul">
            <a:extLst>
              <a:ext uri="{FF2B5EF4-FFF2-40B4-BE49-F238E27FC236}">
                <a16:creationId xmlns:a16="http://schemas.microsoft.com/office/drawing/2014/main" id="{2B7330D5-99D0-AE4E-8A3D-784FE1D3FB1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8428" y="493487"/>
            <a:ext cx="2514600" cy="915035"/>
          </a:xfrm>
          <a:prstGeom prst="rect">
            <a:avLst/>
          </a:prstGeom>
        </p:spPr>
      </p:pic>
      <p:sp>
        <p:nvSpPr>
          <p:cNvPr id="9" name="Textplatzhalter 14">
            <a:extLst>
              <a:ext uri="{FF2B5EF4-FFF2-40B4-BE49-F238E27FC236}">
                <a16:creationId xmlns:a16="http://schemas.microsoft.com/office/drawing/2014/main" id="{F6EE97A8-0631-F943-BB16-063E1C51206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53000">
                <a:srgbClr val="00779A"/>
              </a:gs>
              <a:gs pos="20000">
                <a:srgbClr val="014A6B">
                  <a:alpha val="95000"/>
                </a:srgbClr>
              </a:gs>
              <a:gs pos="76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1" i="0">
                <a:solidFill>
                  <a:schemeClr val="bg1"/>
                </a:solidFill>
                <a:latin typeface="Frutiger LT Com 55 Roman" panose="020B0503030504020204" pitchFamily="34" charset="77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</p:spTree>
    <p:extLst>
      <p:ext uri="{BB962C8B-B14F-4D97-AF65-F5344CB8AC3E}">
        <p14:creationId xmlns:p14="http://schemas.microsoft.com/office/powerpoint/2010/main" val="197530131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ontaktfolie –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B1C91E83-76CE-4744-A900-DCE2F70CAF8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Bild 1">
            <a:extLst>
              <a:ext uri="{FF2B5EF4-FFF2-40B4-BE49-F238E27FC236}">
                <a16:creationId xmlns:a16="http://schemas.microsoft.com/office/drawing/2014/main" id="{87B211F9-6AB1-7141-A7F7-1E751DAB8D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8250"/>
          <a:stretch/>
        </p:blipFill>
        <p:spPr>
          <a:xfrm>
            <a:off x="0" y="566717"/>
            <a:ext cx="12193200" cy="6292871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794" name="think-cell Folie" r:id="rId6" imgW="344" imgH="345" progId="TCLayout.ActiveDocument.1">
                  <p:embed/>
                </p:oleObj>
              </mc:Choice>
              <mc:Fallback>
                <p:oleObj name="think-cell Folie" r:id="rId6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700213"/>
            <a:ext cx="5916612" cy="3888757"/>
          </a:xfrm>
          <a:noFill/>
        </p:spPr>
        <p:txBody>
          <a:bodyPr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1" i="0">
                <a:solidFill>
                  <a:schemeClr val="bg1"/>
                </a:solidFill>
                <a:latin typeface="Frutiger LT Com 55 Roman" panose="020B0503030504020204" pitchFamily="34" charset="77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  <a:p>
            <a:pPr lvl="3"/>
            <a:endParaRPr lang="pt-BR" dirty="0"/>
          </a:p>
          <a:p>
            <a:pPr lvl="3"/>
            <a:r>
              <a:rPr lang="pt-BR" dirty="0"/>
              <a:t>Fraunhofer XYZ</a:t>
            </a:r>
          </a:p>
          <a:p>
            <a:pPr lvl="3"/>
            <a:r>
              <a:rPr lang="pt-BR" dirty="0"/>
              <a:t>Straße XY</a:t>
            </a:r>
          </a:p>
          <a:p>
            <a:pPr lvl="3"/>
            <a:r>
              <a:rPr lang="pt-BR" dirty="0"/>
              <a:t>12345 Stadt</a:t>
            </a:r>
          </a:p>
          <a:p>
            <a:pPr lvl="3"/>
            <a:r>
              <a:rPr lang="pt-BR" dirty="0"/>
              <a:t>www.fraunhofer.de</a:t>
            </a:r>
          </a:p>
        </p:txBody>
      </p:sp>
      <p:pic>
        <p:nvPicPr>
          <p:cNvPr id="10" name="fokus_rgb_modul">
            <a:extLst>
              <a:ext uri="{FF2B5EF4-FFF2-40B4-BE49-F238E27FC236}">
                <a16:creationId xmlns:a16="http://schemas.microsoft.com/office/drawing/2014/main" id="{9E0FB9D3-699F-A74E-9F69-1B5172693BC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8428" y="493487"/>
            <a:ext cx="2514600" cy="915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343330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888DF1F1-EE74-E549-B2B2-23FBCD782E0C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79424" y="1700213"/>
            <a:ext cx="11233149" cy="4284662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55 Roman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>
              <a:solidFill>
                <a:schemeClr val="accent2"/>
              </a:solidFill>
            </a:endParaRPr>
          </a:p>
        </p:txBody>
      </p:sp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979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292546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(optional)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6799" y="186939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 dirty="0"/>
              <a:t>Mastertextformat bearbeiten</a:t>
            </a:r>
          </a:p>
        </p:txBody>
      </p:sp>
      <p:pic>
        <p:nvPicPr>
          <p:cNvPr id="12" name="fokus_rgb_modul">
            <a:extLst>
              <a:ext uri="{FF2B5EF4-FFF2-40B4-BE49-F238E27FC236}">
                <a16:creationId xmlns:a16="http://schemas.microsoft.com/office/drawing/2014/main" id="{AEFB90C4-1AC5-4D4B-9753-7653C3D8A8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89029" y="6253843"/>
            <a:ext cx="1946255" cy="604157"/>
          </a:xfrm>
          <a:prstGeom prst="rect">
            <a:avLst/>
          </a:prstGeom>
        </p:spPr>
      </p:pic>
      <p:sp>
        <p:nvSpPr>
          <p:cNvPr id="14" name="Datumsplatzhalter">
            <a:extLst>
              <a:ext uri="{FF2B5EF4-FFF2-40B4-BE49-F238E27FC236}">
                <a16:creationId xmlns:a16="http://schemas.microsoft.com/office/drawing/2014/main" id="{90C7CB72-A4BA-C244-8057-CAF6EB464E30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75105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24.05.22</a:t>
            </a:r>
            <a:endParaRPr lang="de-DE" sz="900" dirty="0"/>
          </a:p>
        </p:txBody>
      </p:sp>
      <p:sp>
        <p:nvSpPr>
          <p:cNvPr id="15" name="Copyright Fraunhofer">
            <a:extLst>
              <a:ext uri="{FF2B5EF4-FFF2-40B4-BE49-F238E27FC236}">
                <a16:creationId xmlns:a16="http://schemas.microsoft.com/office/drawing/2014/main" id="{6CA6E814-91FE-6C47-B9C5-4AB6E4EF30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6" y="6467722"/>
            <a:ext cx="5507633" cy="13049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© Fraunhofer FOKUS – Informationsklassifizierung: öffentlich</a:t>
            </a:r>
            <a:endParaRPr lang="de-DE" sz="900" dirty="0"/>
          </a:p>
        </p:txBody>
      </p:sp>
      <p:sp>
        <p:nvSpPr>
          <p:cNvPr id="16" name="Foliennummernplatzhalter 8">
            <a:extLst>
              <a:ext uri="{FF2B5EF4-FFF2-40B4-BE49-F238E27FC236}">
                <a16:creationId xmlns:a16="http://schemas.microsoft.com/office/drawing/2014/main" id="{65EE73F3-337E-E847-AF5E-F7B10305A9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9717"/>
            <a:ext cx="720000" cy="13849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441015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888DF1F1-EE74-E549-B2B2-23FBCD782E0C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79424" y="1700213"/>
            <a:ext cx="11233149" cy="4284662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55 Roman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>
              <a:solidFill>
                <a:schemeClr val="accent2"/>
              </a:solidFill>
            </a:endParaRPr>
          </a:p>
        </p:txBody>
      </p:sp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933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292546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(optional)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6799" y="186939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 dirty="0"/>
              <a:t>Mastertextformat bearbeiten</a:t>
            </a:r>
          </a:p>
        </p:txBody>
      </p:sp>
      <p:pic>
        <p:nvPicPr>
          <p:cNvPr id="12" name="fokus_rgb_modul">
            <a:extLst>
              <a:ext uri="{FF2B5EF4-FFF2-40B4-BE49-F238E27FC236}">
                <a16:creationId xmlns:a16="http://schemas.microsoft.com/office/drawing/2014/main" id="{AEFB90C4-1AC5-4D4B-9753-7653C3D8A8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89029" y="6253843"/>
            <a:ext cx="1946255" cy="604157"/>
          </a:xfrm>
          <a:prstGeom prst="rect">
            <a:avLst/>
          </a:prstGeom>
        </p:spPr>
      </p:pic>
      <p:sp>
        <p:nvSpPr>
          <p:cNvPr id="14" name="Datumsplatzhalter">
            <a:extLst>
              <a:ext uri="{FF2B5EF4-FFF2-40B4-BE49-F238E27FC236}">
                <a16:creationId xmlns:a16="http://schemas.microsoft.com/office/drawing/2014/main" id="{90C7CB72-A4BA-C244-8057-CAF6EB464E30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75105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24.05.22</a:t>
            </a:r>
            <a:endParaRPr lang="de-DE" sz="900" dirty="0"/>
          </a:p>
        </p:txBody>
      </p:sp>
      <p:sp>
        <p:nvSpPr>
          <p:cNvPr id="15" name="Copyright Fraunhofer">
            <a:extLst>
              <a:ext uri="{FF2B5EF4-FFF2-40B4-BE49-F238E27FC236}">
                <a16:creationId xmlns:a16="http://schemas.microsoft.com/office/drawing/2014/main" id="{6CA6E814-91FE-6C47-B9C5-4AB6E4EF30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6" y="6467722"/>
            <a:ext cx="5507633" cy="13049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© Fraunhofer FOKUS – Informationsklassifizierung: öffentlich</a:t>
            </a:r>
            <a:endParaRPr lang="de-DE" sz="900" dirty="0"/>
          </a:p>
        </p:txBody>
      </p:sp>
      <p:sp>
        <p:nvSpPr>
          <p:cNvPr id="16" name="Foliennummernplatzhalter 8">
            <a:extLst>
              <a:ext uri="{FF2B5EF4-FFF2-40B4-BE49-F238E27FC236}">
                <a16:creationId xmlns:a16="http://schemas.microsoft.com/office/drawing/2014/main" id="{65EE73F3-337E-E847-AF5E-F7B10305A9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9717"/>
            <a:ext cx="720000" cy="13849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625406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 – groß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4" descr="Headline">
            <a:extLst>
              <a:ext uri="{FF2B5EF4-FFF2-40B4-BE49-F238E27FC236}">
                <a16:creationId xmlns:a16="http://schemas.microsoft.com/office/drawing/2014/main" id="{162B3F8F-2A74-A042-B29C-D4B98059DE4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0" y="2511136"/>
            <a:ext cx="7824783" cy="2994768"/>
          </a:xfrm>
          <a:prstGeom prst="rect">
            <a:avLst/>
          </a:prstGeom>
          <a:gradFill>
            <a:gsLst>
              <a:gs pos="52000">
                <a:srgbClr val="00779A">
                  <a:alpha val="95000"/>
                </a:srgbClr>
              </a:gs>
              <a:gs pos="13000">
                <a:srgbClr val="014A6B">
                  <a:alpha val="95000"/>
                </a:srgbClr>
              </a:gs>
              <a:gs pos="76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</a:gradFill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57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  <p:sp>
        <p:nvSpPr>
          <p:cNvPr id="8" name="Textplatzhalter 14">
            <a:extLst>
              <a:ext uri="{FF2B5EF4-FFF2-40B4-BE49-F238E27FC236}">
                <a16:creationId xmlns:a16="http://schemas.microsoft.com/office/drawing/2014/main" id="{76118F42-C4DB-BD4B-B7CE-FA651002DB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524025"/>
            <a:ext cx="7824783" cy="2981879"/>
          </a:xfrm>
          <a:gradFill flip="none" rotWithShape="1">
            <a:gsLst>
              <a:gs pos="56000">
                <a:srgbClr val="1E7992">
                  <a:alpha val="95000"/>
                </a:srgbClr>
              </a:gs>
              <a:gs pos="22000">
                <a:srgbClr val="014A6B">
                  <a:alpha val="95000"/>
                </a:srgbClr>
              </a:gs>
              <a:gs pos="75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 i="0">
                <a:solidFill>
                  <a:schemeClr val="bg1"/>
                </a:solidFill>
                <a:latin typeface="Frutiger LT Com 55 Roman" panose="020B0503030504020204" pitchFamily="34" charset="77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27660759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5440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39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6141C732-8B35-2041-B4B9-C6C5CE3411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524025"/>
            <a:ext cx="7824783" cy="2981879"/>
          </a:xfrm>
          <a:gradFill flip="none" rotWithShape="1">
            <a:gsLst>
              <a:gs pos="56000">
                <a:srgbClr val="1E7992">
                  <a:alpha val="95000"/>
                </a:srgbClr>
              </a:gs>
              <a:gs pos="22000">
                <a:srgbClr val="014A6B">
                  <a:alpha val="95000"/>
                </a:srgbClr>
              </a:gs>
              <a:gs pos="75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 i="0">
                <a:solidFill>
                  <a:schemeClr val="bg1"/>
                </a:solidFill>
                <a:latin typeface="Frutiger LT Com 55 Roman" panose="020B0503030504020204" pitchFamily="34" charset="77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34896524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apitelfolie mit Beschreibu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0DCCF007-1EAE-F84C-B328-C4EF698686E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178731"/>
          </a:xfrm>
          <a:prstGeom prst="rect">
            <a:avLst/>
          </a:prstGeom>
        </p:spPr>
      </p:pic>
      <p:pic>
        <p:nvPicPr>
          <p:cNvPr id="14" name="Bild 1">
            <a:extLst>
              <a:ext uri="{FF2B5EF4-FFF2-40B4-BE49-F238E27FC236}">
                <a16:creationId xmlns:a16="http://schemas.microsoft.com/office/drawing/2014/main" id="{F15D559F-4231-E748-A9C2-ADF543DD79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8367"/>
          <a:stretch/>
        </p:blipFill>
        <p:spPr>
          <a:xfrm>
            <a:off x="1975" y="550389"/>
            <a:ext cx="12193200" cy="5598952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921" name="think-cell Folie" r:id="rId6" imgW="344" imgH="345" progId="TCLayout.ActiveDocument.1">
                  <p:embed/>
                </p:oleObj>
              </mc:Choice>
              <mc:Fallback>
                <p:oleObj name="think-cell Folie" r:id="rId6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9773" y="2883550"/>
            <a:ext cx="7346583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 i="0">
                <a:solidFill>
                  <a:schemeClr val="bg1"/>
                </a:solidFill>
                <a:latin typeface="Frutiger LT Com 55 Roman" panose="020B0503030504020204" pitchFamily="34" charset="77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apitelüberschrif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</p:txBody>
      </p:sp>
      <p:pic>
        <p:nvPicPr>
          <p:cNvPr id="9" name="fokus_rgb_modul">
            <a:extLst>
              <a:ext uri="{FF2B5EF4-FFF2-40B4-BE49-F238E27FC236}">
                <a16:creationId xmlns:a16="http://schemas.microsoft.com/office/drawing/2014/main" id="{9102D138-42E4-C945-8841-3582265645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89029" y="6253843"/>
            <a:ext cx="1946255" cy="604157"/>
          </a:xfrm>
          <a:prstGeom prst="rect">
            <a:avLst/>
          </a:prstGeom>
        </p:spPr>
      </p:pic>
      <p:sp>
        <p:nvSpPr>
          <p:cNvPr id="10" name="Datumsplatzhalter">
            <a:extLst>
              <a:ext uri="{FF2B5EF4-FFF2-40B4-BE49-F238E27FC236}">
                <a16:creationId xmlns:a16="http://schemas.microsoft.com/office/drawing/2014/main" id="{04AA503B-BD67-1E4C-9C26-5B9084524A9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75105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24.05.22</a:t>
            </a:r>
            <a:endParaRPr lang="de-DE" sz="90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95130FFA-DC51-0C4F-84A5-ECDD453D16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6" y="6467722"/>
            <a:ext cx="5507633" cy="13049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© Fraunhofer FOKUS – Informationsklassifizierung: öffentlich</a:t>
            </a:r>
            <a:endParaRPr lang="de-DE" sz="900" dirty="0"/>
          </a:p>
        </p:txBody>
      </p:sp>
      <p:sp>
        <p:nvSpPr>
          <p:cNvPr id="16" name="Foliennummernplatzhalter 8">
            <a:extLst>
              <a:ext uri="{FF2B5EF4-FFF2-40B4-BE49-F238E27FC236}">
                <a16:creationId xmlns:a16="http://schemas.microsoft.com/office/drawing/2014/main" id="{5D60E8D2-28EC-3442-A3B6-A2CD2D129E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9717"/>
            <a:ext cx="720000" cy="13849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8799545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45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pic>
        <p:nvPicPr>
          <p:cNvPr id="9" name="fokus_rgb_modul">
            <a:extLst>
              <a:ext uri="{FF2B5EF4-FFF2-40B4-BE49-F238E27FC236}">
                <a16:creationId xmlns:a16="http://schemas.microsoft.com/office/drawing/2014/main" id="{E442256A-726D-0B48-8F17-84BBB5E606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89029" y="6253843"/>
            <a:ext cx="1946255" cy="604157"/>
          </a:xfrm>
          <a:prstGeom prst="rect">
            <a:avLst/>
          </a:prstGeom>
        </p:spPr>
      </p:pic>
      <p:sp>
        <p:nvSpPr>
          <p:cNvPr id="16" name="Textplatzhalter 14">
            <a:extLst>
              <a:ext uri="{FF2B5EF4-FFF2-40B4-BE49-F238E27FC236}">
                <a16:creationId xmlns:a16="http://schemas.microsoft.com/office/drawing/2014/main" id="{F50FDD11-46AE-CE41-82DF-65834111800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524025"/>
            <a:ext cx="7824783" cy="2981879"/>
          </a:xfrm>
          <a:gradFill flip="none" rotWithShape="1">
            <a:gsLst>
              <a:gs pos="56000">
                <a:srgbClr val="1E7992">
                  <a:alpha val="95000"/>
                </a:srgbClr>
              </a:gs>
              <a:gs pos="22000">
                <a:srgbClr val="014A6B">
                  <a:alpha val="95000"/>
                </a:srgbClr>
              </a:gs>
              <a:gs pos="75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 i="0">
                <a:solidFill>
                  <a:schemeClr val="bg1"/>
                </a:solidFill>
                <a:latin typeface="Frutiger LT Com 55 Roman" panose="020B0503030504020204" pitchFamily="34" charset="77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17" name="Datumsplatzhalter">
            <a:extLst>
              <a:ext uri="{FF2B5EF4-FFF2-40B4-BE49-F238E27FC236}">
                <a16:creationId xmlns:a16="http://schemas.microsoft.com/office/drawing/2014/main" id="{6CDA6CFF-2028-324A-95DF-4EC3EAEFE4F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75105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24.05.22</a:t>
            </a:r>
            <a:endParaRPr lang="de-DE" sz="900" dirty="0"/>
          </a:p>
        </p:txBody>
      </p:sp>
      <p:sp>
        <p:nvSpPr>
          <p:cNvPr id="18" name="Copyright Fraunhofer">
            <a:extLst>
              <a:ext uri="{FF2B5EF4-FFF2-40B4-BE49-F238E27FC236}">
                <a16:creationId xmlns:a16="http://schemas.microsoft.com/office/drawing/2014/main" id="{A1F8779B-8707-B049-9635-5A109686C9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6" y="6467722"/>
            <a:ext cx="5507633" cy="13049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© Fraunhofer FOKUS – Informationsklassifizierung: öffentlich</a:t>
            </a:r>
            <a:endParaRPr lang="de-DE" sz="900" dirty="0"/>
          </a:p>
        </p:txBody>
      </p:sp>
      <p:sp>
        <p:nvSpPr>
          <p:cNvPr id="19" name="Foliennummernplatzhalter 8">
            <a:extLst>
              <a:ext uri="{FF2B5EF4-FFF2-40B4-BE49-F238E27FC236}">
                <a16:creationId xmlns:a16="http://schemas.microsoft.com/office/drawing/2014/main" id="{E9DAC51A-3406-3449-9679-A25D07FC51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9717"/>
            <a:ext cx="720000" cy="13849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8604779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888DF1F1-EE74-E549-B2B2-23FBCD782E0C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79424" y="1700213"/>
            <a:ext cx="11233149" cy="4284662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55 Roman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>
              <a:solidFill>
                <a:schemeClr val="accent2"/>
              </a:solidFill>
            </a:endParaRPr>
          </a:p>
        </p:txBody>
      </p:sp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1608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09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292546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(optional)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6799" y="186939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 dirty="0"/>
              <a:t>Mastertextformat bearbeiten</a:t>
            </a:r>
          </a:p>
        </p:txBody>
      </p:sp>
      <p:pic>
        <p:nvPicPr>
          <p:cNvPr id="12" name="fokus_rgb_modul">
            <a:extLst>
              <a:ext uri="{FF2B5EF4-FFF2-40B4-BE49-F238E27FC236}">
                <a16:creationId xmlns:a16="http://schemas.microsoft.com/office/drawing/2014/main" id="{AEFB90C4-1AC5-4D4B-9753-7653C3D8A8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89029" y="6253843"/>
            <a:ext cx="1946255" cy="604157"/>
          </a:xfrm>
          <a:prstGeom prst="rect">
            <a:avLst/>
          </a:prstGeom>
        </p:spPr>
      </p:pic>
      <p:sp>
        <p:nvSpPr>
          <p:cNvPr id="14" name="Datumsplatzhalter">
            <a:extLst>
              <a:ext uri="{FF2B5EF4-FFF2-40B4-BE49-F238E27FC236}">
                <a16:creationId xmlns:a16="http://schemas.microsoft.com/office/drawing/2014/main" id="{90C7CB72-A4BA-C244-8057-CAF6EB464E30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75105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24.05.22</a:t>
            </a:r>
            <a:endParaRPr lang="de-DE" sz="900" dirty="0"/>
          </a:p>
        </p:txBody>
      </p:sp>
      <p:sp>
        <p:nvSpPr>
          <p:cNvPr id="15" name="Copyright Fraunhofer">
            <a:extLst>
              <a:ext uri="{FF2B5EF4-FFF2-40B4-BE49-F238E27FC236}">
                <a16:creationId xmlns:a16="http://schemas.microsoft.com/office/drawing/2014/main" id="{6CA6E814-91FE-6C47-B9C5-4AB6E4EF30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6" y="6467722"/>
            <a:ext cx="5507633" cy="13049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© Fraunhofer FOKUS – Informationsklassifizierung: öffentlich</a:t>
            </a:r>
            <a:endParaRPr lang="de-DE" sz="900" dirty="0"/>
          </a:p>
        </p:txBody>
      </p:sp>
      <p:sp>
        <p:nvSpPr>
          <p:cNvPr id="16" name="Foliennummernplatzhalter 8">
            <a:extLst>
              <a:ext uri="{FF2B5EF4-FFF2-40B4-BE49-F238E27FC236}">
                <a16:creationId xmlns:a16="http://schemas.microsoft.com/office/drawing/2014/main" id="{65EE73F3-337E-E847-AF5E-F7B10305A9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9717"/>
            <a:ext cx="720000" cy="13849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42838140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861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292546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(optional)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pic>
        <p:nvPicPr>
          <p:cNvPr id="12" name="fokus_rgb_modul">
            <a:extLst>
              <a:ext uri="{FF2B5EF4-FFF2-40B4-BE49-F238E27FC236}">
                <a16:creationId xmlns:a16="http://schemas.microsoft.com/office/drawing/2014/main" id="{AEFB90C4-1AC5-4D4B-9753-7653C3D8A8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89029" y="6253843"/>
            <a:ext cx="1946255" cy="604157"/>
          </a:xfrm>
          <a:prstGeom prst="rect">
            <a:avLst/>
          </a:prstGeom>
        </p:spPr>
      </p:pic>
      <p:sp>
        <p:nvSpPr>
          <p:cNvPr id="13" name="Datumsplatzhalter">
            <a:extLst>
              <a:ext uri="{FF2B5EF4-FFF2-40B4-BE49-F238E27FC236}">
                <a16:creationId xmlns:a16="http://schemas.microsoft.com/office/drawing/2014/main" id="{95959CCF-25BC-D448-829F-747FEF0ABB9D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75105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24.05.22</a:t>
            </a:r>
            <a:endParaRPr lang="de-DE" sz="900" dirty="0"/>
          </a:p>
        </p:txBody>
      </p:sp>
      <p:sp>
        <p:nvSpPr>
          <p:cNvPr id="14" name="Copyright Fraunhofer">
            <a:extLst>
              <a:ext uri="{FF2B5EF4-FFF2-40B4-BE49-F238E27FC236}">
                <a16:creationId xmlns:a16="http://schemas.microsoft.com/office/drawing/2014/main" id="{B9FE477F-68A1-4F45-8DBC-EAB462BF0D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6" y="6467722"/>
            <a:ext cx="5507633" cy="13049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© Fraunhofer FOKUS – Informationsklassifizierung: öffentlich</a:t>
            </a:r>
            <a:endParaRPr lang="de-DE" sz="900" dirty="0"/>
          </a:p>
        </p:txBody>
      </p:sp>
      <p:sp>
        <p:nvSpPr>
          <p:cNvPr id="15" name="Foliennummernplatzhalter 8">
            <a:extLst>
              <a:ext uri="{FF2B5EF4-FFF2-40B4-BE49-F238E27FC236}">
                <a16:creationId xmlns:a16="http://schemas.microsoft.com/office/drawing/2014/main" id="{3C9B86F6-212B-574C-BCE5-826445821C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9717"/>
            <a:ext cx="720000" cy="13849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9719569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21640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33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292547"/>
            <a:ext cx="11233150" cy="319318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 err="1"/>
              <a:t>Subline</a:t>
            </a:r>
            <a:r>
              <a:rPr lang="de-DE" dirty="0"/>
              <a:t> (optional)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pic>
        <p:nvPicPr>
          <p:cNvPr id="12" name="fokus_rgb_modul">
            <a:extLst>
              <a:ext uri="{FF2B5EF4-FFF2-40B4-BE49-F238E27FC236}">
                <a16:creationId xmlns:a16="http://schemas.microsoft.com/office/drawing/2014/main" id="{3F34E698-3068-4B4A-BE26-CD81C185A6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89029" y="6253843"/>
            <a:ext cx="1946255" cy="604157"/>
          </a:xfrm>
          <a:prstGeom prst="rect">
            <a:avLst/>
          </a:prstGeom>
        </p:spPr>
      </p:pic>
      <p:sp>
        <p:nvSpPr>
          <p:cNvPr id="13" name="Datumsplatzhalter">
            <a:extLst>
              <a:ext uri="{FF2B5EF4-FFF2-40B4-BE49-F238E27FC236}">
                <a16:creationId xmlns:a16="http://schemas.microsoft.com/office/drawing/2014/main" id="{F42A096F-FEDF-6844-B3CC-78F9D9784F94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75105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24.05.22</a:t>
            </a:r>
            <a:endParaRPr lang="de-DE" sz="900" dirty="0"/>
          </a:p>
        </p:txBody>
      </p:sp>
      <p:sp>
        <p:nvSpPr>
          <p:cNvPr id="14" name="Copyright Fraunhofer">
            <a:extLst>
              <a:ext uri="{FF2B5EF4-FFF2-40B4-BE49-F238E27FC236}">
                <a16:creationId xmlns:a16="http://schemas.microsoft.com/office/drawing/2014/main" id="{0ED7D025-D224-B84E-9327-DC931E26CC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6" y="6467722"/>
            <a:ext cx="5507633" cy="13049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© Fraunhofer FOKUS – Informationsklassifizierung: öffentlich</a:t>
            </a:r>
            <a:endParaRPr lang="de-DE" sz="900" dirty="0"/>
          </a:p>
        </p:txBody>
      </p:sp>
      <p:sp>
        <p:nvSpPr>
          <p:cNvPr id="15" name="Foliennummernplatzhalter 8">
            <a:extLst>
              <a:ext uri="{FF2B5EF4-FFF2-40B4-BE49-F238E27FC236}">
                <a16:creationId xmlns:a16="http://schemas.microsoft.com/office/drawing/2014/main" id="{5A6315DF-0C33-6343-94ED-207A4017BE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9717"/>
            <a:ext cx="720000" cy="13849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905429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565214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3" name="think-cell Folie" r:id="rId31" imgW="344" imgH="345" progId="TCLayout.ActiveDocument.1">
                  <p:embed/>
                </p:oleObj>
              </mc:Choice>
              <mc:Fallback>
                <p:oleObj name="think-cell Folie" r:id="rId31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638476"/>
            <a:ext cx="11233150" cy="382733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/>
          <a:p>
            <a:r>
              <a:rPr lang="de-DE" noProof="0" dirty="0"/>
              <a:t>Mastertitelformat bearbeiten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90951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75105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24.05.22</a:t>
            </a:r>
            <a:endParaRPr lang="de-DE" sz="900" dirty="0"/>
          </a:p>
        </p:txBody>
      </p:sp>
      <p:sp>
        <p:nvSpPr>
          <p:cNvPr id="5" name="Copyright Fraunhofer">
            <a:extLst>
              <a:ext uri="{FF2B5EF4-FFF2-40B4-BE49-F238E27FC236}">
                <a16:creationId xmlns:a16="http://schemas.microsoft.com/office/drawing/2014/main" id="{5FF3544A-E0F0-4101-A728-3DFB567F7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6" y="6467722"/>
            <a:ext cx="5507633" cy="13049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© Fraunhofer FOKUS – Informationsklassifizierung: öffentlich</a:t>
            </a:r>
            <a:endParaRPr lang="de-DE" sz="900" dirty="0"/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3FFAE78-FC0D-4DC3-A58F-888E658BE2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9717"/>
            <a:ext cx="720000" cy="13849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sz="900" dirty="0"/>
          </a:p>
        </p:txBody>
      </p:sp>
      <p:sp>
        <p:nvSpPr>
          <p:cNvPr id="11" name="LogoFusszeile">
            <a:extLst>
              <a:ext uri="{FF2B5EF4-FFF2-40B4-BE49-F238E27FC236}">
                <a16:creationId xmlns:a16="http://schemas.microsoft.com/office/drawing/2014/main" id="{A1A14973-0D19-4698-859C-851A93B6A59A}"/>
              </a:ext>
            </a:extLst>
          </p:cNvPr>
          <p:cNvSpPr/>
          <p:nvPr userDrawn="1"/>
        </p:nvSpPr>
        <p:spPr>
          <a:xfrm>
            <a:off x="10309226" y="6334126"/>
            <a:ext cx="1404000" cy="37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7" name="Gerader Verbinder 33">
            <a:extLst>
              <a:ext uri="{FF2B5EF4-FFF2-40B4-BE49-F238E27FC236}">
                <a16:creationId xmlns:a16="http://schemas.microsoft.com/office/drawing/2014/main" id="{6C26FC93-069E-2746-AB27-6A6257CA1C6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8199" y="1173974"/>
            <a:ext cx="399746" cy="0"/>
          </a:xfrm>
          <a:prstGeom prst="line">
            <a:avLst/>
          </a:prstGeom>
          <a:noFill/>
          <a:ln w="539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57623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50" r:id="rId2"/>
    <p:sldLayoutId id="2147483691" r:id="rId3"/>
    <p:sldLayoutId id="2147483653" r:id="rId4"/>
    <p:sldLayoutId id="2147483683" r:id="rId5"/>
    <p:sldLayoutId id="2147483684" r:id="rId6"/>
    <p:sldLayoutId id="2147483659" r:id="rId7"/>
    <p:sldLayoutId id="2147483695" r:id="rId8"/>
    <p:sldLayoutId id="2147483668" r:id="rId9"/>
    <p:sldLayoutId id="2147483686" r:id="rId10"/>
    <p:sldLayoutId id="2147483665" r:id="rId11"/>
    <p:sldLayoutId id="2147483687" r:id="rId12"/>
    <p:sldLayoutId id="2147483671" r:id="rId13"/>
    <p:sldLayoutId id="2147483688" r:id="rId14"/>
    <p:sldLayoutId id="2147483685" r:id="rId15"/>
    <p:sldLayoutId id="2147483689" r:id="rId16"/>
    <p:sldLayoutId id="2147483664" r:id="rId17"/>
    <p:sldLayoutId id="2147483667" r:id="rId18"/>
    <p:sldLayoutId id="2147483666" r:id="rId19"/>
    <p:sldLayoutId id="2147483670" r:id="rId20"/>
    <p:sldLayoutId id="2147483672" r:id="rId21"/>
    <p:sldLayoutId id="2147483673" r:id="rId22"/>
    <p:sldLayoutId id="2147483679" r:id="rId23"/>
    <p:sldLayoutId id="2147483675" r:id="rId24"/>
    <p:sldLayoutId id="2147483681" r:id="rId25"/>
    <p:sldLayoutId id="2147483722" r:id="rId26"/>
    <p:sldLayoutId id="2147483721" r:id="rId27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3" orient="horz" pos="300" userDrawn="1">
          <p15:clr>
            <a:srgbClr val="F26B43"/>
          </p15:clr>
        </p15:guide>
        <p15:guide id="4" orient="horz" pos="4133" userDrawn="1">
          <p15:clr>
            <a:srgbClr val="F26B43"/>
          </p15:clr>
        </p15:guide>
        <p15:guide id="5" orient="horz" pos="3770" userDrawn="1">
          <p15:clr>
            <a:srgbClr val="F26B43"/>
          </p15:clr>
        </p15:guide>
        <p15:guide id="8" orient="horz" pos="107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svg"/><Relationship Id="rId18" Type="http://schemas.openxmlformats.org/officeDocument/2006/relationships/image" Target="../media/image20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.emf"/><Relationship Id="rId12" Type="http://schemas.openxmlformats.org/officeDocument/2006/relationships/image" Target="../media/image14.png"/><Relationship Id="rId17" Type="http://schemas.openxmlformats.org/officeDocument/2006/relationships/image" Target="../media/image19.svg"/><Relationship Id="rId2" Type="http://schemas.openxmlformats.org/officeDocument/2006/relationships/tags" Target="../tags/tag30.xml"/><Relationship Id="rId16" Type="http://schemas.openxmlformats.org/officeDocument/2006/relationships/image" Target="../media/image18.png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20.bin"/><Relationship Id="rId11" Type="http://schemas.openxmlformats.org/officeDocument/2006/relationships/image" Target="../media/image13.svg"/><Relationship Id="rId5" Type="http://schemas.openxmlformats.org/officeDocument/2006/relationships/image" Target="../media/image9.png"/><Relationship Id="rId15" Type="http://schemas.openxmlformats.org/officeDocument/2006/relationships/image" Target="../media/image17.svg"/><Relationship Id="rId10" Type="http://schemas.openxmlformats.org/officeDocument/2006/relationships/image" Target="../media/image12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1.svg"/><Relationship Id="rId14" Type="http://schemas.openxmlformats.org/officeDocument/2006/relationships/image" Target="../media/image1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Oval 88">
            <a:extLst>
              <a:ext uri="{FF2B5EF4-FFF2-40B4-BE49-F238E27FC236}">
                <a16:creationId xmlns:a16="http://schemas.microsoft.com/office/drawing/2014/main" id="{8F57F441-096B-A448-BD2E-BDBB6E2726B8}"/>
              </a:ext>
            </a:extLst>
          </p:cNvPr>
          <p:cNvSpPr/>
          <p:nvPr/>
        </p:nvSpPr>
        <p:spPr>
          <a:xfrm>
            <a:off x="3653006" y="1238474"/>
            <a:ext cx="4784400" cy="4785810"/>
          </a:xfrm>
          <a:prstGeom prst="ellipse">
            <a:avLst/>
          </a:prstGeom>
          <a:blipFill dpi="0" rotWithShape="1">
            <a:blip r:embed="rId5">
              <a:alphaModFix amt="8000"/>
            </a:blip>
            <a:srcRect/>
            <a:stretch>
              <a:fillRect r="-80000"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31" name="Oval 88">
            <a:extLst>
              <a:ext uri="{FF2B5EF4-FFF2-40B4-BE49-F238E27FC236}">
                <a16:creationId xmlns:a16="http://schemas.microsoft.com/office/drawing/2014/main" id="{5B0527E6-AA3F-4C4C-8E80-C9E537B4D546}"/>
              </a:ext>
            </a:extLst>
          </p:cNvPr>
          <p:cNvSpPr/>
          <p:nvPr/>
        </p:nvSpPr>
        <p:spPr>
          <a:xfrm>
            <a:off x="3653006" y="1238474"/>
            <a:ext cx="4784400" cy="4785810"/>
          </a:xfrm>
          <a:prstGeom prst="ellipse">
            <a:avLst/>
          </a:prstGeom>
          <a:gradFill>
            <a:gsLst>
              <a:gs pos="1000">
                <a:srgbClr val="002B3A"/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189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809" name="think-cell Folie" r:id="rId6" imgW="344" imgH="345" progId="TCLayout.ActiveDocument.1">
                  <p:embed/>
                </p:oleObj>
              </mc:Choice>
              <mc:Fallback>
                <p:oleObj name="think-cell Folie" r:id="rId6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Abgerundetes Rechteck 42">
            <a:extLst>
              <a:ext uri="{FF2B5EF4-FFF2-40B4-BE49-F238E27FC236}">
                <a16:creationId xmlns:a16="http://schemas.microsoft.com/office/drawing/2014/main" id="{C881EC2D-2866-6141-AD20-77943784F376}"/>
              </a:ext>
            </a:extLst>
          </p:cNvPr>
          <p:cNvSpPr/>
          <p:nvPr/>
        </p:nvSpPr>
        <p:spPr bwMode="auto">
          <a:xfrm>
            <a:off x="7521400" y="2915906"/>
            <a:ext cx="1957485" cy="575412"/>
          </a:xfrm>
          <a:prstGeom prst="roundRect">
            <a:avLst>
              <a:gd name="adj" fmla="val 0"/>
            </a:avLst>
          </a:prstGeom>
          <a:gradFill>
            <a:gsLst>
              <a:gs pos="0">
                <a:schemeClr val="accent4">
                  <a:lumMod val="50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8900000" scaled="0"/>
          </a:gradFill>
          <a:ln w="28575" cap="flat" cmpd="sng">
            <a:solidFill>
              <a:schemeClr val="accent4">
                <a:alpha val="80000"/>
              </a:schemeClr>
            </a:solidFill>
            <a:prstDash val="solid"/>
            <a:round/>
            <a:headEnd/>
            <a:tailEnd/>
          </a:ln>
          <a:effectLst/>
        </p:spPr>
        <p:txBody>
          <a:bodyPr lIns="0" tIns="0" rIns="0" bIns="0" rtlCol="0" anchor="ctr">
            <a:noAutofit/>
          </a:bodyPr>
          <a:lstStyle/>
          <a:p>
            <a:pPr lvl="0" algn="ctr" defTabSz="1219444">
              <a:defRPr/>
            </a:pPr>
            <a:r>
              <a:rPr lang="de-DE" sz="1400" b="1" kern="0" dirty="0" err="1">
                <a:latin typeface="+mj-lt"/>
              </a:rPr>
              <a:t>Full</a:t>
            </a:r>
            <a:r>
              <a:rPr lang="de-DE" sz="1400" b="1" kern="0" dirty="0">
                <a:latin typeface="+mj-lt"/>
              </a:rPr>
              <a:t> </a:t>
            </a:r>
            <a:r>
              <a:rPr lang="de-DE" sz="1400" b="1" kern="0" dirty="0" err="1">
                <a:latin typeface="+mj-lt"/>
              </a:rPr>
              <a:t>access</a:t>
            </a:r>
            <a:r>
              <a:rPr lang="de-DE" sz="1400" b="1" kern="0" dirty="0">
                <a:latin typeface="+mj-lt"/>
              </a:rPr>
              <a:t> </a:t>
            </a:r>
            <a:r>
              <a:rPr lang="de-DE" sz="1400" b="1" kern="0" dirty="0" err="1">
                <a:latin typeface="+mj-lt"/>
              </a:rPr>
              <a:t>to</a:t>
            </a:r>
            <a:r>
              <a:rPr lang="de-DE" sz="1400" b="1" kern="0" dirty="0">
                <a:latin typeface="+mj-lt"/>
              </a:rPr>
              <a:t> </a:t>
            </a:r>
            <a:r>
              <a:rPr lang="de-DE" sz="1400" b="1" kern="0" dirty="0" err="1">
                <a:latin typeface="+mj-lt"/>
              </a:rPr>
              <a:t>the</a:t>
            </a:r>
            <a:r>
              <a:rPr lang="de-DE" sz="1400" b="1" kern="0" dirty="0">
                <a:latin typeface="+mj-lt"/>
              </a:rPr>
              <a:t> </a:t>
            </a:r>
          </a:p>
          <a:p>
            <a:pPr lvl="0" algn="ctr" defTabSz="1219444">
              <a:defRPr/>
            </a:pPr>
            <a:r>
              <a:rPr lang="de-DE" sz="1400" b="1" kern="0" dirty="0">
                <a:latin typeface="+mj-lt"/>
              </a:rPr>
              <a:t>Python </a:t>
            </a:r>
            <a:r>
              <a:rPr lang="de-DE" sz="1400" b="1" kern="0" dirty="0" err="1">
                <a:latin typeface="+mj-lt"/>
              </a:rPr>
              <a:t>ecosystem</a:t>
            </a:r>
            <a:endParaRPr lang="de-DE" sz="1400" b="1" kern="0" dirty="0">
              <a:latin typeface="+mj-lt"/>
            </a:endParaRPr>
          </a:p>
        </p:txBody>
      </p:sp>
      <p:sp>
        <p:nvSpPr>
          <p:cNvPr id="44" name="Abgerundetes Rechteck 43">
            <a:extLst>
              <a:ext uri="{FF2B5EF4-FFF2-40B4-BE49-F238E27FC236}">
                <a16:creationId xmlns:a16="http://schemas.microsoft.com/office/drawing/2014/main" id="{42A8BA07-AEF1-6E4B-87B4-2770217FE53F}"/>
              </a:ext>
            </a:extLst>
          </p:cNvPr>
          <p:cNvSpPr/>
          <p:nvPr/>
        </p:nvSpPr>
        <p:spPr bwMode="auto">
          <a:xfrm>
            <a:off x="6479922" y="5340717"/>
            <a:ext cx="1957484" cy="575412"/>
          </a:xfrm>
          <a:prstGeom prst="roundRect">
            <a:avLst>
              <a:gd name="adj" fmla="val 0"/>
            </a:avLst>
          </a:prstGeom>
          <a:gradFill>
            <a:gsLst>
              <a:gs pos="2000">
                <a:schemeClr val="accent3">
                  <a:lumMod val="75000"/>
                </a:schemeClr>
              </a:gs>
              <a:gs pos="100000">
                <a:schemeClr val="accent3">
                  <a:lumMod val="40000"/>
                  <a:lumOff val="60000"/>
                </a:schemeClr>
              </a:gs>
            </a:gsLst>
            <a:lin ang="18900000" scaled="0"/>
          </a:gradFill>
          <a:ln w="28575" cap="flat" cmpd="sng">
            <a:solidFill>
              <a:schemeClr val="accent3">
                <a:alpha val="80000"/>
              </a:schemeClr>
            </a:solidFill>
            <a:prstDash val="solid"/>
            <a:round/>
            <a:headEnd/>
            <a:tailEnd/>
          </a:ln>
          <a:effectLst/>
        </p:spPr>
        <p:txBody>
          <a:bodyPr lIns="0" tIns="0" rIns="0" bIns="0" rtlCol="0" anchor="ctr">
            <a:noAutofit/>
          </a:bodyPr>
          <a:lstStyle/>
          <a:p>
            <a:pPr lvl="0" algn="ctr" defTabSz="1219444">
              <a:defRPr/>
            </a:pPr>
            <a:r>
              <a:rPr lang="de-DE" sz="1400" b="1" kern="0" dirty="0">
                <a:latin typeface="+mj-lt"/>
              </a:rPr>
              <a:t>Integrated </a:t>
            </a:r>
            <a:r>
              <a:rPr lang="de-DE" sz="1400" b="1" kern="0" dirty="0" err="1">
                <a:latin typeface="+mj-lt"/>
              </a:rPr>
              <a:t>floating</a:t>
            </a:r>
            <a:r>
              <a:rPr lang="de-DE" sz="1400" b="1" kern="0" dirty="0">
                <a:latin typeface="+mj-lt"/>
              </a:rPr>
              <a:t> </a:t>
            </a:r>
          </a:p>
          <a:p>
            <a:pPr lvl="0" algn="ctr" defTabSz="1219444">
              <a:defRPr/>
            </a:pPr>
            <a:r>
              <a:rPr lang="de-DE" sz="1400" b="1" kern="0" dirty="0" err="1">
                <a:latin typeface="+mj-lt"/>
              </a:rPr>
              <a:t>point</a:t>
            </a:r>
            <a:r>
              <a:rPr lang="de-DE" sz="1400" b="1" kern="0" dirty="0">
                <a:latin typeface="+mj-lt"/>
              </a:rPr>
              <a:t> </a:t>
            </a:r>
            <a:r>
              <a:rPr lang="de-DE" sz="1400" b="1" kern="0" dirty="0" err="1">
                <a:latin typeface="+mj-lt"/>
              </a:rPr>
              <a:t>arithmetic</a:t>
            </a:r>
            <a:endParaRPr lang="de-DE" sz="1400" b="1" kern="0" dirty="0">
              <a:latin typeface="+mj-lt"/>
            </a:endParaRPr>
          </a:p>
        </p:txBody>
      </p:sp>
      <p:sp>
        <p:nvSpPr>
          <p:cNvPr id="45" name="Abgerundetes Rechteck 44">
            <a:extLst>
              <a:ext uri="{FF2B5EF4-FFF2-40B4-BE49-F238E27FC236}">
                <a16:creationId xmlns:a16="http://schemas.microsoft.com/office/drawing/2014/main" id="{AC06CCAC-0F99-7D45-8A13-F81681BEDDD3}"/>
              </a:ext>
            </a:extLst>
          </p:cNvPr>
          <p:cNvSpPr/>
          <p:nvPr/>
        </p:nvSpPr>
        <p:spPr bwMode="auto">
          <a:xfrm>
            <a:off x="5066462" y="1432015"/>
            <a:ext cx="1957485" cy="575412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rgbClr val="669DB2"/>
              </a:gs>
              <a:gs pos="100000">
                <a:schemeClr val="accent1"/>
              </a:gs>
            </a:gsLst>
            <a:lin ang="16200000" scaled="0"/>
            <a:tileRect/>
          </a:gradFill>
          <a:ln w="28575" cap="flat" cmpd="sng">
            <a:solidFill>
              <a:schemeClr val="accent2">
                <a:alpha val="80000"/>
              </a:schemeClr>
            </a:solidFill>
            <a:prstDash val="solid"/>
            <a:round/>
            <a:headEnd/>
            <a:tailEnd/>
          </a:ln>
          <a:effectLst/>
        </p:spPr>
        <p:txBody>
          <a:bodyPr lIns="0" tIns="0" rIns="0" bIns="0" rtlCol="0" anchor="ctr">
            <a:noAutofit/>
          </a:bodyPr>
          <a:lstStyle/>
          <a:p>
            <a:pPr lvl="0" algn="ctr" defTabSz="1219444">
              <a:defRPr/>
            </a:pPr>
            <a:r>
              <a:rPr lang="de-DE" sz="1400" b="1" kern="0" dirty="0">
                <a:latin typeface="+mj-lt"/>
              </a:rPr>
              <a:t>Intuitive high-level </a:t>
            </a:r>
          </a:p>
          <a:p>
            <a:pPr lvl="0" algn="ctr" defTabSz="1219444">
              <a:defRPr/>
            </a:pPr>
            <a:r>
              <a:rPr lang="de-DE" sz="1400" b="1" kern="0" dirty="0" err="1">
                <a:latin typeface="+mj-lt"/>
              </a:rPr>
              <a:t>coding</a:t>
            </a:r>
            <a:r>
              <a:rPr lang="de-DE" sz="1400" b="1" kern="0" dirty="0">
                <a:latin typeface="+mj-lt"/>
              </a:rPr>
              <a:t> interface</a:t>
            </a:r>
          </a:p>
        </p:txBody>
      </p:sp>
      <p:grpSp>
        <p:nvGrpSpPr>
          <p:cNvPr id="85" name="Gruppieren 84">
            <a:extLst>
              <a:ext uri="{FF2B5EF4-FFF2-40B4-BE49-F238E27FC236}">
                <a16:creationId xmlns:a16="http://schemas.microsoft.com/office/drawing/2014/main" id="{8C52D756-D463-B041-9CC9-B84CD275FDDF}"/>
              </a:ext>
            </a:extLst>
          </p:cNvPr>
          <p:cNvGrpSpPr/>
          <p:nvPr/>
        </p:nvGrpSpPr>
        <p:grpSpPr>
          <a:xfrm>
            <a:off x="8059836" y="2013172"/>
            <a:ext cx="880612" cy="880612"/>
            <a:chOff x="6728950" y="2728270"/>
            <a:chExt cx="880612" cy="880612"/>
          </a:xfrm>
        </p:grpSpPr>
        <p:sp>
          <p:nvSpPr>
            <p:cNvPr id="78" name="Freihandform 77">
              <a:extLst>
                <a:ext uri="{FF2B5EF4-FFF2-40B4-BE49-F238E27FC236}">
                  <a16:creationId xmlns:a16="http://schemas.microsoft.com/office/drawing/2014/main" id="{F79992CD-6AEF-A645-BB17-9B8A4C8F7CED}"/>
                </a:ext>
              </a:extLst>
            </p:cNvPr>
            <p:cNvSpPr/>
            <p:nvPr/>
          </p:nvSpPr>
          <p:spPr>
            <a:xfrm>
              <a:off x="6826313" y="2838261"/>
              <a:ext cx="679010" cy="665430"/>
            </a:xfrm>
            <a:custGeom>
              <a:avLst/>
              <a:gdLst>
                <a:gd name="connsiteX0" fmla="*/ 248970 w 679010"/>
                <a:gd name="connsiteY0" fmla="*/ 4527 h 665430"/>
                <a:gd name="connsiteX1" fmla="*/ 221810 w 679010"/>
                <a:gd name="connsiteY1" fmla="*/ 36214 h 665430"/>
                <a:gd name="connsiteX2" fmla="*/ 221810 w 679010"/>
                <a:gd name="connsiteY2" fmla="*/ 162963 h 665430"/>
                <a:gd name="connsiteX3" fmla="*/ 49794 w 679010"/>
                <a:gd name="connsiteY3" fmla="*/ 167489 h 665430"/>
                <a:gd name="connsiteX4" fmla="*/ 0 w 679010"/>
                <a:gd name="connsiteY4" fmla="*/ 190123 h 665430"/>
                <a:gd name="connsiteX5" fmla="*/ 27160 w 679010"/>
                <a:gd name="connsiteY5" fmla="*/ 430040 h 665430"/>
                <a:gd name="connsiteX6" fmla="*/ 54321 w 679010"/>
                <a:gd name="connsiteY6" fmla="*/ 475307 h 665430"/>
                <a:gd name="connsiteX7" fmla="*/ 176542 w 679010"/>
                <a:gd name="connsiteY7" fmla="*/ 479834 h 665430"/>
                <a:gd name="connsiteX8" fmla="*/ 172016 w 679010"/>
                <a:gd name="connsiteY8" fmla="*/ 629216 h 665430"/>
                <a:gd name="connsiteX9" fmla="*/ 212756 w 679010"/>
                <a:gd name="connsiteY9" fmla="*/ 660903 h 665430"/>
                <a:gd name="connsiteX10" fmla="*/ 425513 w 679010"/>
                <a:gd name="connsiteY10" fmla="*/ 665430 h 665430"/>
                <a:gd name="connsiteX11" fmla="*/ 466253 w 679010"/>
                <a:gd name="connsiteY11" fmla="*/ 588476 h 665430"/>
                <a:gd name="connsiteX12" fmla="*/ 457200 w 679010"/>
                <a:gd name="connsiteY12" fmla="*/ 484361 h 665430"/>
                <a:gd name="connsiteX13" fmla="*/ 647323 w 679010"/>
                <a:gd name="connsiteY13" fmla="*/ 484361 h 665430"/>
                <a:gd name="connsiteX14" fmla="*/ 679010 w 679010"/>
                <a:gd name="connsiteY14" fmla="*/ 448147 h 665430"/>
                <a:gd name="connsiteX15" fmla="*/ 674483 w 679010"/>
                <a:gd name="connsiteY15" fmla="*/ 212757 h 665430"/>
                <a:gd name="connsiteX16" fmla="*/ 638269 w 679010"/>
                <a:gd name="connsiteY16" fmla="*/ 190123 h 665430"/>
                <a:gd name="connsiteX17" fmla="*/ 520574 w 679010"/>
                <a:gd name="connsiteY17" fmla="*/ 199177 h 665430"/>
                <a:gd name="connsiteX18" fmla="*/ 529628 w 679010"/>
                <a:gd name="connsiteY18" fmla="*/ 76955 h 665430"/>
                <a:gd name="connsiteX19" fmla="*/ 516047 w 679010"/>
                <a:gd name="connsiteY19" fmla="*/ 18107 h 665430"/>
                <a:gd name="connsiteX20" fmla="*/ 461727 w 679010"/>
                <a:gd name="connsiteY20" fmla="*/ 0 h 665430"/>
                <a:gd name="connsiteX21" fmla="*/ 248970 w 679010"/>
                <a:gd name="connsiteY21" fmla="*/ 4527 h 665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679010" h="665430">
                  <a:moveTo>
                    <a:pt x="248970" y="4527"/>
                  </a:moveTo>
                  <a:lnTo>
                    <a:pt x="221810" y="36214"/>
                  </a:lnTo>
                  <a:lnTo>
                    <a:pt x="221810" y="162963"/>
                  </a:lnTo>
                  <a:lnTo>
                    <a:pt x="49794" y="167489"/>
                  </a:lnTo>
                  <a:lnTo>
                    <a:pt x="0" y="190123"/>
                  </a:lnTo>
                  <a:lnTo>
                    <a:pt x="27160" y="430040"/>
                  </a:lnTo>
                  <a:lnTo>
                    <a:pt x="54321" y="475307"/>
                  </a:lnTo>
                  <a:lnTo>
                    <a:pt x="176542" y="479834"/>
                  </a:lnTo>
                  <a:lnTo>
                    <a:pt x="172016" y="629216"/>
                  </a:lnTo>
                  <a:lnTo>
                    <a:pt x="212756" y="660903"/>
                  </a:lnTo>
                  <a:lnTo>
                    <a:pt x="425513" y="665430"/>
                  </a:lnTo>
                  <a:lnTo>
                    <a:pt x="466253" y="588476"/>
                  </a:lnTo>
                  <a:lnTo>
                    <a:pt x="457200" y="484361"/>
                  </a:lnTo>
                  <a:lnTo>
                    <a:pt x="647323" y="484361"/>
                  </a:lnTo>
                  <a:lnTo>
                    <a:pt x="679010" y="448147"/>
                  </a:lnTo>
                  <a:lnTo>
                    <a:pt x="674483" y="212757"/>
                  </a:lnTo>
                  <a:lnTo>
                    <a:pt x="638269" y="190123"/>
                  </a:lnTo>
                  <a:lnTo>
                    <a:pt x="520574" y="199177"/>
                  </a:lnTo>
                  <a:lnTo>
                    <a:pt x="529628" y="76955"/>
                  </a:lnTo>
                  <a:lnTo>
                    <a:pt x="516047" y="18107"/>
                  </a:lnTo>
                  <a:lnTo>
                    <a:pt x="461727" y="0"/>
                  </a:lnTo>
                  <a:lnTo>
                    <a:pt x="248970" y="4527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pic>
          <p:nvPicPr>
            <p:cNvPr id="60" name="Grafik 59">
              <a:extLst>
                <a:ext uri="{FF2B5EF4-FFF2-40B4-BE49-F238E27FC236}">
                  <a16:creationId xmlns:a16="http://schemas.microsoft.com/office/drawing/2014/main" id="{ED3B4845-2B46-4C47-8132-9D602CB5CEA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728950" y="2728270"/>
              <a:ext cx="880612" cy="880612"/>
            </a:xfrm>
            <a:prstGeom prst="rect">
              <a:avLst/>
            </a:prstGeom>
          </p:spPr>
        </p:pic>
      </p:grpSp>
      <p:grpSp>
        <p:nvGrpSpPr>
          <p:cNvPr id="84" name="Gruppieren 83">
            <a:extLst>
              <a:ext uri="{FF2B5EF4-FFF2-40B4-BE49-F238E27FC236}">
                <a16:creationId xmlns:a16="http://schemas.microsoft.com/office/drawing/2014/main" id="{1B372D87-B401-874A-8CA5-46F5033AE7E8}"/>
              </a:ext>
            </a:extLst>
          </p:cNvPr>
          <p:cNvGrpSpPr/>
          <p:nvPr/>
        </p:nvGrpSpPr>
        <p:grpSpPr>
          <a:xfrm>
            <a:off x="5704276" y="654452"/>
            <a:ext cx="681859" cy="681859"/>
            <a:chOff x="5749010" y="1976935"/>
            <a:chExt cx="681859" cy="681859"/>
          </a:xfrm>
        </p:grpSpPr>
        <p:sp>
          <p:nvSpPr>
            <p:cNvPr id="77" name="Freihandform 76">
              <a:extLst>
                <a:ext uri="{FF2B5EF4-FFF2-40B4-BE49-F238E27FC236}">
                  <a16:creationId xmlns:a16="http://schemas.microsoft.com/office/drawing/2014/main" id="{F5D6B316-77B2-CE4E-A61F-2CF9582DCE98}"/>
                </a:ext>
              </a:extLst>
            </p:cNvPr>
            <p:cNvSpPr/>
            <p:nvPr/>
          </p:nvSpPr>
          <p:spPr>
            <a:xfrm>
              <a:off x="5866646" y="1982709"/>
              <a:ext cx="466253" cy="674483"/>
            </a:xfrm>
            <a:custGeom>
              <a:avLst/>
              <a:gdLst>
                <a:gd name="connsiteX0" fmla="*/ 181069 w 466253"/>
                <a:gd name="connsiteY0" fmla="*/ 13580 h 674483"/>
                <a:gd name="connsiteX1" fmla="*/ 67901 w 466253"/>
                <a:gd name="connsiteY1" fmla="*/ 54321 h 674483"/>
                <a:gd name="connsiteX2" fmla="*/ 0 w 466253"/>
                <a:gd name="connsiteY2" fmla="*/ 162962 h 674483"/>
                <a:gd name="connsiteX3" fmla="*/ 0 w 466253"/>
                <a:gd name="connsiteY3" fmla="*/ 280657 h 674483"/>
                <a:gd name="connsiteX4" fmla="*/ 36213 w 466253"/>
                <a:gd name="connsiteY4" fmla="*/ 366665 h 674483"/>
                <a:gd name="connsiteX5" fmla="*/ 36213 w 466253"/>
                <a:gd name="connsiteY5" fmla="*/ 407406 h 674483"/>
                <a:gd name="connsiteX6" fmla="*/ 72427 w 466253"/>
                <a:gd name="connsiteY6" fmla="*/ 430040 h 674483"/>
                <a:gd name="connsiteX7" fmla="*/ 108641 w 466253"/>
                <a:gd name="connsiteY7" fmla="*/ 407406 h 674483"/>
                <a:gd name="connsiteX8" fmla="*/ 172015 w 466253"/>
                <a:gd name="connsiteY8" fmla="*/ 393826 h 674483"/>
                <a:gd name="connsiteX9" fmla="*/ 194649 w 466253"/>
                <a:gd name="connsiteY9" fmla="*/ 611109 h 674483"/>
                <a:gd name="connsiteX10" fmla="*/ 131275 w 466253"/>
                <a:gd name="connsiteY10" fmla="*/ 534154 h 674483"/>
                <a:gd name="connsiteX11" fmla="*/ 72427 w 466253"/>
                <a:gd name="connsiteY11" fmla="*/ 529628 h 674483"/>
                <a:gd name="connsiteX12" fmla="*/ 81481 w 466253"/>
                <a:gd name="connsiteY12" fmla="*/ 579422 h 674483"/>
                <a:gd name="connsiteX13" fmla="*/ 126748 w 466253"/>
                <a:gd name="connsiteY13" fmla="*/ 674483 h 674483"/>
                <a:gd name="connsiteX14" fmla="*/ 466253 w 466253"/>
                <a:gd name="connsiteY14" fmla="*/ 674483 h 674483"/>
                <a:gd name="connsiteX15" fmla="*/ 448146 w 466253"/>
                <a:gd name="connsiteY15" fmla="*/ 488887 h 674483"/>
                <a:gd name="connsiteX16" fmla="*/ 398352 w 466253"/>
                <a:gd name="connsiteY16" fmla="*/ 452673 h 674483"/>
                <a:gd name="connsiteX17" fmla="*/ 353085 w 466253"/>
                <a:gd name="connsiteY17" fmla="*/ 430040 h 674483"/>
                <a:gd name="connsiteX18" fmla="*/ 294237 w 466253"/>
                <a:gd name="connsiteY18" fmla="*/ 448146 h 674483"/>
                <a:gd name="connsiteX19" fmla="*/ 253497 w 466253"/>
                <a:gd name="connsiteY19" fmla="*/ 443620 h 674483"/>
                <a:gd name="connsiteX20" fmla="*/ 298764 w 466253"/>
                <a:gd name="connsiteY20" fmla="*/ 420986 h 674483"/>
                <a:gd name="connsiteX21" fmla="*/ 402879 w 466253"/>
                <a:gd name="connsiteY21" fmla="*/ 325925 h 674483"/>
                <a:gd name="connsiteX22" fmla="*/ 420986 w 466253"/>
                <a:gd name="connsiteY22" fmla="*/ 172016 h 674483"/>
                <a:gd name="connsiteX23" fmla="*/ 393825 w 466253"/>
                <a:gd name="connsiteY23" fmla="*/ 72428 h 674483"/>
                <a:gd name="connsiteX24" fmla="*/ 398352 w 466253"/>
                <a:gd name="connsiteY24" fmla="*/ 31687 h 674483"/>
                <a:gd name="connsiteX25" fmla="*/ 330451 w 466253"/>
                <a:gd name="connsiteY25" fmla="*/ 22634 h 674483"/>
                <a:gd name="connsiteX26" fmla="*/ 244443 w 466253"/>
                <a:gd name="connsiteY26" fmla="*/ 0 h 674483"/>
                <a:gd name="connsiteX27" fmla="*/ 181069 w 466253"/>
                <a:gd name="connsiteY27" fmla="*/ 13580 h 674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66253" h="674483">
                  <a:moveTo>
                    <a:pt x="181069" y="13580"/>
                  </a:moveTo>
                  <a:lnTo>
                    <a:pt x="67901" y="54321"/>
                  </a:lnTo>
                  <a:lnTo>
                    <a:pt x="0" y="162962"/>
                  </a:lnTo>
                  <a:lnTo>
                    <a:pt x="0" y="280657"/>
                  </a:lnTo>
                  <a:lnTo>
                    <a:pt x="36213" y="366665"/>
                  </a:lnTo>
                  <a:lnTo>
                    <a:pt x="36213" y="407406"/>
                  </a:lnTo>
                  <a:lnTo>
                    <a:pt x="72427" y="430040"/>
                  </a:lnTo>
                  <a:lnTo>
                    <a:pt x="108641" y="407406"/>
                  </a:lnTo>
                  <a:lnTo>
                    <a:pt x="172015" y="393826"/>
                  </a:lnTo>
                  <a:lnTo>
                    <a:pt x="194649" y="611109"/>
                  </a:lnTo>
                  <a:lnTo>
                    <a:pt x="131275" y="534154"/>
                  </a:lnTo>
                  <a:lnTo>
                    <a:pt x="72427" y="529628"/>
                  </a:lnTo>
                  <a:lnTo>
                    <a:pt x="81481" y="579422"/>
                  </a:lnTo>
                  <a:lnTo>
                    <a:pt x="126748" y="674483"/>
                  </a:lnTo>
                  <a:lnTo>
                    <a:pt x="466253" y="674483"/>
                  </a:lnTo>
                  <a:lnTo>
                    <a:pt x="448146" y="488887"/>
                  </a:lnTo>
                  <a:lnTo>
                    <a:pt x="398352" y="452673"/>
                  </a:lnTo>
                  <a:lnTo>
                    <a:pt x="353085" y="430040"/>
                  </a:lnTo>
                  <a:lnTo>
                    <a:pt x="294237" y="448146"/>
                  </a:lnTo>
                  <a:lnTo>
                    <a:pt x="253497" y="443620"/>
                  </a:lnTo>
                  <a:lnTo>
                    <a:pt x="298764" y="420986"/>
                  </a:lnTo>
                  <a:lnTo>
                    <a:pt x="402879" y="325925"/>
                  </a:lnTo>
                  <a:lnTo>
                    <a:pt x="420986" y="172016"/>
                  </a:lnTo>
                  <a:lnTo>
                    <a:pt x="393825" y="72428"/>
                  </a:lnTo>
                  <a:lnTo>
                    <a:pt x="398352" y="31687"/>
                  </a:lnTo>
                  <a:lnTo>
                    <a:pt x="330451" y="22634"/>
                  </a:lnTo>
                  <a:lnTo>
                    <a:pt x="244443" y="0"/>
                  </a:lnTo>
                  <a:lnTo>
                    <a:pt x="181069" y="13580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pic>
          <p:nvPicPr>
            <p:cNvPr id="63" name="Grafik 62">
              <a:extLst>
                <a:ext uri="{FF2B5EF4-FFF2-40B4-BE49-F238E27FC236}">
                  <a16:creationId xmlns:a16="http://schemas.microsoft.com/office/drawing/2014/main" id="{D527D3EA-47E5-8B41-A8B6-CD10B2A407F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749010" y="1976935"/>
              <a:ext cx="681859" cy="681859"/>
            </a:xfrm>
            <a:prstGeom prst="rect">
              <a:avLst/>
            </a:prstGeom>
          </p:spPr>
        </p:pic>
      </p:grpSp>
      <p:grpSp>
        <p:nvGrpSpPr>
          <p:cNvPr id="86" name="Gruppieren 85">
            <a:extLst>
              <a:ext uri="{FF2B5EF4-FFF2-40B4-BE49-F238E27FC236}">
                <a16:creationId xmlns:a16="http://schemas.microsoft.com/office/drawing/2014/main" id="{B1E843C9-AD07-2740-86BB-1406FDAF8D12}"/>
              </a:ext>
            </a:extLst>
          </p:cNvPr>
          <p:cNvGrpSpPr/>
          <p:nvPr/>
        </p:nvGrpSpPr>
        <p:grpSpPr>
          <a:xfrm>
            <a:off x="7214380" y="4611079"/>
            <a:ext cx="628650" cy="628650"/>
            <a:chOff x="6919857" y="4316677"/>
            <a:chExt cx="620269" cy="620269"/>
          </a:xfrm>
        </p:grpSpPr>
        <p:sp>
          <p:nvSpPr>
            <p:cNvPr id="79" name="Abgerundetes Rechteck 78">
              <a:extLst>
                <a:ext uri="{FF2B5EF4-FFF2-40B4-BE49-F238E27FC236}">
                  <a16:creationId xmlns:a16="http://schemas.microsoft.com/office/drawing/2014/main" id="{FB4546F7-4BDC-DE45-A0FB-5FA9F421F1B7}"/>
                </a:ext>
              </a:extLst>
            </p:cNvPr>
            <p:cNvSpPr/>
            <p:nvPr/>
          </p:nvSpPr>
          <p:spPr>
            <a:xfrm>
              <a:off x="6928911" y="4325731"/>
              <a:ext cx="599355" cy="599355"/>
            </a:xfrm>
            <a:prstGeom prst="roundRect">
              <a:avLst>
                <a:gd name="adj" fmla="val 11609"/>
              </a:avLst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pic>
          <p:nvPicPr>
            <p:cNvPr id="66" name="Grafik 65">
              <a:extLst>
                <a:ext uri="{FF2B5EF4-FFF2-40B4-BE49-F238E27FC236}">
                  <a16:creationId xmlns:a16="http://schemas.microsoft.com/office/drawing/2014/main" id="{D41D2311-8C63-4846-BB8D-FD99CF140E4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919857" y="4316677"/>
              <a:ext cx="620269" cy="620269"/>
            </a:xfrm>
            <a:prstGeom prst="rect">
              <a:avLst/>
            </a:prstGeom>
          </p:spPr>
        </p:pic>
      </p:grpSp>
      <p:sp>
        <p:nvSpPr>
          <p:cNvPr id="41" name="Abgerundetes Rechteck 40">
            <a:extLst>
              <a:ext uri="{FF2B5EF4-FFF2-40B4-BE49-F238E27FC236}">
                <a16:creationId xmlns:a16="http://schemas.microsoft.com/office/drawing/2014/main" id="{DA874A3C-98DE-5143-91A9-B90F80C695F6}"/>
              </a:ext>
            </a:extLst>
          </p:cNvPr>
          <p:cNvSpPr/>
          <p:nvPr/>
        </p:nvSpPr>
        <p:spPr bwMode="auto">
          <a:xfrm>
            <a:off x="2713115" y="2915906"/>
            <a:ext cx="1957485" cy="575412"/>
          </a:xfrm>
          <a:prstGeom prst="roundRect">
            <a:avLst>
              <a:gd name="adj" fmla="val 0"/>
            </a:avLst>
          </a:prstGeom>
          <a:gradFill>
            <a:gsLst>
              <a:gs pos="1000">
                <a:schemeClr val="tx2">
                  <a:lumMod val="75000"/>
                </a:schemeClr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18900000" scaled="0"/>
          </a:gradFill>
          <a:ln w="28575" cap="flat" cmpd="sng">
            <a:solidFill>
              <a:schemeClr val="tx2">
                <a:alpha val="82000"/>
              </a:schemeClr>
            </a:solidFill>
            <a:prstDash val="solid"/>
            <a:round/>
            <a:headEnd/>
            <a:tailEnd/>
          </a:ln>
          <a:effectLst/>
        </p:spPr>
        <p:txBody>
          <a:bodyPr lIns="0" tIns="0" rIns="0" bIns="0" rtlCol="0" anchor="ctr">
            <a:noAutofit/>
          </a:bodyPr>
          <a:lstStyle/>
          <a:p>
            <a:pPr lvl="0" algn="ctr" defTabSz="1219444">
              <a:defRPr/>
            </a:pPr>
            <a:r>
              <a:rPr lang="de-DE" sz="1400" b="1" kern="0" dirty="0">
                <a:latin typeface="+mj-lt"/>
              </a:rPr>
              <a:t>REST-</a:t>
            </a:r>
            <a:r>
              <a:rPr lang="de-DE" sz="1400" b="1" kern="0" dirty="0" err="1">
                <a:latin typeface="+mj-lt"/>
              </a:rPr>
              <a:t>based</a:t>
            </a:r>
            <a:r>
              <a:rPr lang="de-DE" sz="1400" b="1" kern="0" dirty="0">
                <a:latin typeface="+mj-lt"/>
              </a:rPr>
              <a:t> </a:t>
            </a:r>
          </a:p>
          <a:p>
            <a:pPr lvl="0" algn="ctr" defTabSz="1219444">
              <a:defRPr/>
            </a:pPr>
            <a:r>
              <a:rPr lang="de-DE" sz="1400" b="1" kern="0" dirty="0">
                <a:latin typeface="+mj-lt"/>
              </a:rPr>
              <a:t>backend interface</a:t>
            </a:r>
          </a:p>
        </p:txBody>
      </p:sp>
      <p:grpSp>
        <p:nvGrpSpPr>
          <p:cNvPr id="88" name="Gruppieren 87">
            <a:extLst>
              <a:ext uri="{FF2B5EF4-FFF2-40B4-BE49-F238E27FC236}">
                <a16:creationId xmlns:a16="http://schemas.microsoft.com/office/drawing/2014/main" id="{4736BB8B-D6E5-D649-A123-D563DC9096D1}"/>
              </a:ext>
            </a:extLst>
          </p:cNvPr>
          <p:cNvGrpSpPr/>
          <p:nvPr/>
        </p:nvGrpSpPr>
        <p:grpSpPr>
          <a:xfrm>
            <a:off x="3370980" y="2166080"/>
            <a:ext cx="641754" cy="641754"/>
            <a:chOff x="4406895" y="2780413"/>
            <a:chExt cx="641754" cy="641754"/>
          </a:xfrm>
        </p:grpSpPr>
        <p:grpSp>
          <p:nvGrpSpPr>
            <p:cNvPr id="76" name="Gruppieren 75">
              <a:extLst>
                <a:ext uri="{FF2B5EF4-FFF2-40B4-BE49-F238E27FC236}">
                  <a16:creationId xmlns:a16="http://schemas.microsoft.com/office/drawing/2014/main" id="{DD3952E5-51A2-A247-A5CB-A02B006DBD24}"/>
                </a:ext>
              </a:extLst>
            </p:cNvPr>
            <p:cNvGrpSpPr/>
            <p:nvPr/>
          </p:nvGrpSpPr>
          <p:grpSpPr>
            <a:xfrm>
              <a:off x="4416879" y="2780413"/>
              <a:ext cx="624567" cy="640424"/>
              <a:chOff x="4416879" y="2780413"/>
              <a:chExt cx="624567" cy="640424"/>
            </a:xfrm>
          </p:grpSpPr>
          <p:sp>
            <p:nvSpPr>
              <p:cNvPr id="72" name="Freihandform 71">
                <a:extLst>
                  <a:ext uri="{FF2B5EF4-FFF2-40B4-BE49-F238E27FC236}">
                    <a16:creationId xmlns:a16="http://schemas.microsoft.com/office/drawing/2014/main" id="{1C307667-A940-2C41-B4D6-DBC58E6F2889}"/>
                  </a:ext>
                </a:extLst>
              </p:cNvPr>
              <p:cNvSpPr/>
              <p:nvPr/>
            </p:nvSpPr>
            <p:spPr>
              <a:xfrm>
                <a:off x="4416879" y="3012621"/>
                <a:ext cx="416378" cy="408216"/>
              </a:xfrm>
              <a:custGeom>
                <a:avLst/>
                <a:gdLst>
                  <a:gd name="connsiteX0" fmla="*/ 171450 w 416378"/>
                  <a:gd name="connsiteY0" fmla="*/ 8165 h 408215"/>
                  <a:gd name="connsiteX1" fmla="*/ 40821 w 416378"/>
                  <a:gd name="connsiteY1" fmla="*/ 138793 h 408215"/>
                  <a:gd name="connsiteX2" fmla="*/ 0 w 416378"/>
                  <a:gd name="connsiteY2" fmla="*/ 220436 h 408215"/>
                  <a:gd name="connsiteX3" fmla="*/ 32657 w 416378"/>
                  <a:gd name="connsiteY3" fmla="*/ 359229 h 408215"/>
                  <a:gd name="connsiteX4" fmla="*/ 130628 w 416378"/>
                  <a:gd name="connsiteY4" fmla="*/ 408215 h 408215"/>
                  <a:gd name="connsiteX5" fmla="*/ 244928 w 416378"/>
                  <a:gd name="connsiteY5" fmla="*/ 375558 h 408215"/>
                  <a:gd name="connsiteX6" fmla="*/ 375557 w 416378"/>
                  <a:gd name="connsiteY6" fmla="*/ 244929 h 408215"/>
                  <a:gd name="connsiteX7" fmla="*/ 416378 w 416378"/>
                  <a:gd name="connsiteY7" fmla="*/ 163286 h 408215"/>
                  <a:gd name="connsiteX8" fmla="*/ 391885 w 416378"/>
                  <a:gd name="connsiteY8" fmla="*/ 65315 h 408215"/>
                  <a:gd name="connsiteX9" fmla="*/ 310242 w 416378"/>
                  <a:gd name="connsiteY9" fmla="*/ 0 h 408215"/>
                  <a:gd name="connsiteX10" fmla="*/ 293914 w 416378"/>
                  <a:gd name="connsiteY10" fmla="*/ 73479 h 408215"/>
                  <a:gd name="connsiteX11" fmla="*/ 253092 w 416378"/>
                  <a:gd name="connsiteY11" fmla="*/ 130629 h 408215"/>
                  <a:gd name="connsiteX12" fmla="*/ 334735 w 416378"/>
                  <a:gd name="connsiteY12" fmla="*/ 179615 h 408215"/>
                  <a:gd name="connsiteX13" fmla="*/ 253092 w 416378"/>
                  <a:gd name="connsiteY13" fmla="*/ 261258 h 408215"/>
                  <a:gd name="connsiteX14" fmla="*/ 171450 w 416378"/>
                  <a:gd name="connsiteY14" fmla="*/ 326572 h 408215"/>
                  <a:gd name="connsiteX15" fmla="*/ 89807 w 416378"/>
                  <a:gd name="connsiteY15" fmla="*/ 293915 h 408215"/>
                  <a:gd name="connsiteX16" fmla="*/ 89807 w 416378"/>
                  <a:gd name="connsiteY16" fmla="*/ 293915 h 408215"/>
                  <a:gd name="connsiteX17" fmla="*/ 89807 w 416378"/>
                  <a:gd name="connsiteY17" fmla="*/ 204108 h 408215"/>
                  <a:gd name="connsiteX18" fmla="*/ 204107 w 416378"/>
                  <a:gd name="connsiteY18" fmla="*/ 114300 h 408215"/>
                  <a:gd name="connsiteX19" fmla="*/ 171450 w 416378"/>
                  <a:gd name="connsiteY19" fmla="*/ 8165 h 4082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416378" h="408215">
                    <a:moveTo>
                      <a:pt x="171450" y="8165"/>
                    </a:moveTo>
                    <a:lnTo>
                      <a:pt x="40821" y="138793"/>
                    </a:lnTo>
                    <a:lnTo>
                      <a:pt x="0" y="220436"/>
                    </a:lnTo>
                    <a:lnTo>
                      <a:pt x="32657" y="359229"/>
                    </a:lnTo>
                    <a:lnTo>
                      <a:pt x="130628" y="408215"/>
                    </a:lnTo>
                    <a:lnTo>
                      <a:pt x="244928" y="375558"/>
                    </a:lnTo>
                    <a:lnTo>
                      <a:pt x="375557" y="244929"/>
                    </a:lnTo>
                    <a:lnTo>
                      <a:pt x="416378" y="163286"/>
                    </a:lnTo>
                    <a:lnTo>
                      <a:pt x="391885" y="65315"/>
                    </a:lnTo>
                    <a:lnTo>
                      <a:pt x="310242" y="0"/>
                    </a:lnTo>
                    <a:lnTo>
                      <a:pt x="293914" y="73479"/>
                    </a:lnTo>
                    <a:lnTo>
                      <a:pt x="253092" y="130629"/>
                    </a:lnTo>
                    <a:lnTo>
                      <a:pt x="334735" y="179615"/>
                    </a:lnTo>
                    <a:lnTo>
                      <a:pt x="253092" y="261258"/>
                    </a:lnTo>
                    <a:lnTo>
                      <a:pt x="171450" y="326572"/>
                    </a:lnTo>
                    <a:lnTo>
                      <a:pt x="89807" y="293915"/>
                    </a:lnTo>
                    <a:lnTo>
                      <a:pt x="89807" y="293915"/>
                    </a:lnTo>
                    <a:lnTo>
                      <a:pt x="89807" y="204108"/>
                    </a:lnTo>
                    <a:lnTo>
                      <a:pt x="204107" y="114300"/>
                    </a:lnTo>
                    <a:lnTo>
                      <a:pt x="171450" y="816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3" name="Freihandform 72">
                <a:extLst>
                  <a:ext uri="{FF2B5EF4-FFF2-40B4-BE49-F238E27FC236}">
                    <a16:creationId xmlns:a16="http://schemas.microsoft.com/office/drawing/2014/main" id="{528BF7CF-9F9E-C744-8E27-754CD85AC9BC}"/>
                  </a:ext>
                </a:extLst>
              </p:cNvPr>
              <p:cNvSpPr/>
              <p:nvPr/>
            </p:nvSpPr>
            <p:spPr>
              <a:xfrm rot="10800000">
                <a:off x="4625068" y="2780413"/>
                <a:ext cx="416378" cy="408215"/>
              </a:xfrm>
              <a:custGeom>
                <a:avLst/>
                <a:gdLst>
                  <a:gd name="connsiteX0" fmla="*/ 171450 w 416378"/>
                  <a:gd name="connsiteY0" fmla="*/ 8165 h 408215"/>
                  <a:gd name="connsiteX1" fmla="*/ 40821 w 416378"/>
                  <a:gd name="connsiteY1" fmla="*/ 138793 h 408215"/>
                  <a:gd name="connsiteX2" fmla="*/ 0 w 416378"/>
                  <a:gd name="connsiteY2" fmla="*/ 220436 h 408215"/>
                  <a:gd name="connsiteX3" fmla="*/ 32657 w 416378"/>
                  <a:gd name="connsiteY3" fmla="*/ 359229 h 408215"/>
                  <a:gd name="connsiteX4" fmla="*/ 130628 w 416378"/>
                  <a:gd name="connsiteY4" fmla="*/ 408215 h 408215"/>
                  <a:gd name="connsiteX5" fmla="*/ 244928 w 416378"/>
                  <a:gd name="connsiteY5" fmla="*/ 375558 h 408215"/>
                  <a:gd name="connsiteX6" fmla="*/ 375557 w 416378"/>
                  <a:gd name="connsiteY6" fmla="*/ 244929 h 408215"/>
                  <a:gd name="connsiteX7" fmla="*/ 416378 w 416378"/>
                  <a:gd name="connsiteY7" fmla="*/ 163286 h 408215"/>
                  <a:gd name="connsiteX8" fmla="*/ 391885 w 416378"/>
                  <a:gd name="connsiteY8" fmla="*/ 65315 h 408215"/>
                  <a:gd name="connsiteX9" fmla="*/ 310242 w 416378"/>
                  <a:gd name="connsiteY9" fmla="*/ 0 h 408215"/>
                  <a:gd name="connsiteX10" fmla="*/ 293914 w 416378"/>
                  <a:gd name="connsiteY10" fmla="*/ 73479 h 408215"/>
                  <a:gd name="connsiteX11" fmla="*/ 253092 w 416378"/>
                  <a:gd name="connsiteY11" fmla="*/ 130629 h 408215"/>
                  <a:gd name="connsiteX12" fmla="*/ 334735 w 416378"/>
                  <a:gd name="connsiteY12" fmla="*/ 179615 h 408215"/>
                  <a:gd name="connsiteX13" fmla="*/ 253092 w 416378"/>
                  <a:gd name="connsiteY13" fmla="*/ 261258 h 408215"/>
                  <a:gd name="connsiteX14" fmla="*/ 171450 w 416378"/>
                  <a:gd name="connsiteY14" fmla="*/ 326572 h 408215"/>
                  <a:gd name="connsiteX15" fmla="*/ 89807 w 416378"/>
                  <a:gd name="connsiteY15" fmla="*/ 293915 h 408215"/>
                  <a:gd name="connsiteX16" fmla="*/ 89807 w 416378"/>
                  <a:gd name="connsiteY16" fmla="*/ 293915 h 408215"/>
                  <a:gd name="connsiteX17" fmla="*/ 89807 w 416378"/>
                  <a:gd name="connsiteY17" fmla="*/ 204108 h 408215"/>
                  <a:gd name="connsiteX18" fmla="*/ 204107 w 416378"/>
                  <a:gd name="connsiteY18" fmla="*/ 114300 h 408215"/>
                  <a:gd name="connsiteX19" fmla="*/ 171450 w 416378"/>
                  <a:gd name="connsiteY19" fmla="*/ 8165 h 4082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416378" h="408215">
                    <a:moveTo>
                      <a:pt x="171450" y="8165"/>
                    </a:moveTo>
                    <a:lnTo>
                      <a:pt x="40821" y="138793"/>
                    </a:lnTo>
                    <a:lnTo>
                      <a:pt x="0" y="220436"/>
                    </a:lnTo>
                    <a:lnTo>
                      <a:pt x="32657" y="359229"/>
                    </a:lnTo>
                    <a:lnTo>
                      <a:pt x="130628" y="408215"/>
                    </a:lnTo>
                    <a:lnTo>
                      <a:pt x="244928" y="375558"/>
                    </a:lnTo>
                    <a:lnTo>
                      <a:pt x="375557" y="244929"/>
                    </a:lnTo>
                    <a:lnTo>
                      <a:pt x="416378" y="163286"/>
                    </a:lnTo>
                    <a:lnTo>
                      <a:pt x="391885" y="65315"/>
                    </a:lnTo>
                    <a:lnTo>
                      <a:pt x="310242" y="0"/>
                    </a:lnTo>
                    <a:lnTo>
                      <a:pt x="293914" y="73479"/>
                    </a:lnTo>
                    <a:lnTo>
                      <a:pt x="253092" y="130629"/>
                    </a:lnTo>
                    <a:lnTo>
                      <a:pt x="334735" y="179615"/>
                    </a:lnTo>
                    <a:lnTo>
                      <a:pt x="253092" y="261258"/>
                    </a:lnTo>
                    <a:lnTo>
                      <a:pt x="171450" y="326572"/>
                    </a:lnTo>
                    <a:lnTo>
                      <a:pt x="89807" y="293915"/>
                    </a:lnTo>
                    <a:lnTo>
                      <a:pt x="89807" y="293915"/>
                    </a:lnTo>
                    <a:lnTo>
                      <a:pt x="89807" y="204108"/>
                    </a:lnTo>
                    <a:lnTo>
                      <a:pt x="204107" y="114300"/>
                    </a:lnTo>
                    <a:lnTo>
                      <a:pt x="171450" y="816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4" name="Freihandform 73">
                <a:extLst>
                  <a:ext uri="{FF2B5EF4-FFF2-40B4-BE49-F238E27FC236}">
                    <a16:creationId xmlns:a16="http://schemas.microsoft.com/office/drawing/2014/main" id="{E54C9A34-528E-164D-A504-723B6213C605}"/>
                  </a:ext>
                </a:extLst>
              </p:cNvPr>
              <p:cNvSpPr/>
              <p:nvPr/>
            </p:nvSpPr>
            <p:spPr>
              <a:xfrm>
                <a:off x="4572000" y="3010277"/>
                <a:ext cx="95061" cy="108642"/>
              </a:xfrm>
              <a:custGeom>
                <a:avLst/>
                <a:gdLst>
                  <a:gd name="connsiteX0" fmla="*/ 9053 w 95061"/>
                  <a:gd name="connsiteY0" fmla="*/ 22634 h 108642"/>
                  <a:gd name="connsiteX1" fmla="*/ 67901 w 95061"/>
                  <a:gd name="connsiteY1" fmla="*/ 0 h 108642"/>
                  <a:gd name="connsiteX2" fmla="*/ 95061 w 95061"/>
                  <a:gd name="connsiteY2" fmla="*/ 95062 h 108642"/>
                  <a:gd name="connsiteX3" fmla="*/ 0 w 95061"/>
                  <a:gd name="connsiteY3" fmla="*/ 108642 h 108642"/>
                  <a:gd name="connsiteX4" fmla="*/ 9053 w 95061"/>
                  <a:gd name="connsiteY4" fmla="*/ 22634 h 108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5061" h="108642">
                    <a:moveTo>
                      <a:pt x="9053" y="22634"/>
                    </a:moveTo>
                    <a:lnTo>
                      <a:pt x="67901" y="0"/>
                    </a:lnTo>
                    <a:lnTo>
                      <a:pt x="95061" y="95062"/>
                    </a:lnTo>
                    <a:lnTo>
                      <a:pt x="0" y="108642"/>
                    </a:lnTo>
                    <a:lnTo>
                      <a:pt x="9053" y="22634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5" name="Freihandform 74">
                <a:extLst>
                  <a:ext uri="{FF2B5EF4-FFF2-40B4-BE49-F238E27FC236}">
                    <a16:creationId xmlns:a16="http://schemas.microsoft.com/office/drawing/2014/main" id="{6AA3D7EF-4DF0-CB4F-BAA1-F2B9A21A6B9F}"/>
                  </a:ext>
                </a:extLst>
              </p:cNvPr>
              <p:cNvSpPr/>
              <p:nvPr/>
            </p:nvSpPr>
            <p:spPr>
              <a:xfrm rot="20152781">
                <a:off x="4802863" y="3082705"/>
                <a:ext cx="95061" cy="108642"/>
              </a:xfrm>
              <a:custGeom>
                <a:avLst/>
                <a:gdLst>
                  <a:gd name="connsiteX0" fmla="*/ 9053 w 95061"/>
                  <a:gd name="connsiteY0" fmla="*/ 22634 h 108642"/>
                  <a:gd name="connsiteX1" fmla="*/ 67901 w 95061"/>
                  <a:gd name="connsiteY1" fmla="*/ 0 h 108642"/>
                  <a:gd name="connsiteX2" fmla="*/ 95061 w 95061"/>
                  <a:gd name="connsiteY2" fmla="*/ 95062 h 108642"/>
                  <a:gd name="connsiteX3" fmla="*/ 0 w 95061"/>
                  <a:gd name="connsiteY3" fmla="*/ 108642 h 108642"/>
                  <a:gd name="connsiteX4" fmla="*/ 9053 w 95061"/>
                  <a:gd name="connsiteY4" fmla="*/ 22634 h 108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5061" h="108642">
                    <a:moveTo>
                      <a:pt x="9053" y="22634"/>
                    </a:moveTo>
                    <a:lnTo>
                      <a:pt x="67901" y="0"/>
                    </a:lnTo>
                    <a:lnTo>
                      <a:pt x="95061" y="95062"/>
                    </a:lnTo>
                    <a:lnTo>
                      <a:pt x="0" y="108642"/>
                    </a:lnTo>
                    <a:lnTo>
                      <a:pt x="9053" y="22634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81" name="Grafik 80">
              <a:extLst>
                <a:ext uri="{FF2B5EF4-FFF2-40B4-BE49-F238E27FC236}">
                  <a16:creationId xmlns:a16="http://schemas.microsoft.com/office/drawing/2014/main" id="{E7E2DE5A-29F3-014C-A121-258FE14F70E1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4406895" y="2780413"/>
              <a:ext cx="641754" cy="641754"/>
            </a:xfrm>
            <a:prstGeom prst="rect">
              <a:avLst/>
            </a:prstGeom>
          </p:spPr>
        </p:pic>
      </p:grpSp>
      <p:sp>
        <p:nvSpPr>
          <p:cNvPr id="42" name="Abgerundetes Rechteck 41">
            <a:extLst>
              <a:ext uri="{FF2B5EF4-FFF2-40B4-BE49-F238E27FC236}">
                <a16:creationId xmlns:a16="http://schemas.microsoft.com/office/drawing/2014/main" id="{DC53F0B6-9778-4D40-86F2-F4E34726E757}"/>
              </a:ext>
            </a:extLst>
          </p:cNvPr>
          <p:cNvSpPr/>
          <p:nvPr/>
        </p:nvSpPr>
        <p:spPr bwMode="auto">
          <a:xfrm>
            <a:off x="3647405" y="5340717"/>
            <a:ext cx="1957485" cy="575412"/>
          </a:xfrm>
          <a:prstGeom prst="roundRect">
            <a:avLst>
              <a:gd name="adj" fmla="val 0"/>
            </a:avLst>
          </a:prstGeom>
          <a:gradFill>
            <a:gsLst>
              <a:gs pos="18000">
                <a:schemeClr val="accent1">
                  <a:lumMod val="75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8900000" scaled="0"/>
          </a:gradFill>
          <a:ln w="28575" cap="flat" cmpd="sng">
            <a:solidFill>
              <a:schemeClr val="accent1">
                <a:alpha val="80000"/>
              </a:schemeClr>
            </a:solidFill>
            <a:prstDash val="solid"/>
            <a:round/>
            <a:headEnd/>
            <a:tailEnd/>
          </a:ln>
          <a:effectLst/>
        </p:spPr>
        <p:txBody>
          <a:bodyPr lIns="0" tIns="0" rIns="0" bIns="0" rtlCol="0" anchor="ctr">
            <a:noAutofit/>
          </a:bodyPr>
          <a:lstStyle/>
          <a:p>
            <a:pPr lvl="0" algn="ctr" defTabSz="1219444">
              <a:defRPr/>
            </a:pPr>
            <a:r>
              <a:rPr lang="de-DE" sz="1400" b="1" kern="0" dirty="0" err="1">
                <a:latin typeface="+mj-lt"/>
              </a:rPr>
              <a:t>Blazing</a:t>
            </a:r>
            <a:r>
              <a:rPr lang="de-DE" sz="1400" b="1" kern="0" dirty="0">
                <a:latin typeface="+mj-lt"/>
              </a:rPr>
              <a:t> fast</a:t>
            </a:r>
            <a:br>
              <a:rPr lang="de-DE" sz="1400" b="1" kern="0" dirty="0">
                <a:latin typeface="+mj-lt"/>
              </a:rPr>
            </a:br>
            <a:r>
              <a:rPr lang="de-DE" sz="1400" b="1" kern="0" dirty="0">
                <a:latin typeface="+mj-lt"/>
              </a:rPr>
              <a:t>Simulator</a:t>
            </a:r>
          </a:p>
        </p:txBody>
      </p:sp>
      <p:grpSp>
        <p:nvGrpSpPr>
          <p:cNvPr id="87" name="Gruppieren 86">
            <a:extLst>
              <a:ext uri="{FF2B5EF4-FFF2-40B4-BE49-F238E27FC236}">
                <a16:creationId xmlns:a16="http://schemas.microsoft.com/office/drawing/2014/main" id="{F9894FC4-6952-3144-BC4D-12AD135B4B8C}"/>
              </a:ext>
            </a:extLst>
          </p:cNvPr>
          <p:cNvGrpSpPr/>
          <p:nvPr/>
        </p:nvGrpSpPr>
        <p:grpSpPr>
          <a:xfrm>
            <a:off x="4267200" y="4559805"/>
            <a:ext cx="710422" cy="710422"/>
            <a:chOff x="4903945" y="4528323"/>
            <a:chExt cx="734701" cy="734701"/>
          </a:xfrm>
        </p:grpSpPr>
        <p:sp>
          <p:nvSpPr>
            <p:cNvPr id="71" name="Freihandform 70">
              <a:extLst>
                <a:ext uri="{FF2B5EF4-FFF2-40B4-BE49-F238E27FC236}">
                  <a16:creationId xmlns:a16="http://schemas.microsoft.com/office/drawing/2014/main" id="{486185CC-2770-1342-B84F-02E5069A6EF8}"/>
                </a:ext>
              </a:extLst>
            </p:cNvPr>
            <p:cNvSpPr/>
            <p:nvPr/>
          </p:nvSpPr>
          <p:spPr>
            <a:xfrm>
              <a:off x="4914900" y="4581349"/>
              <a:ext cx="710293" cy="628650"/>
            </a:xfrm>
            <a:custGeom>
              <a:avLst/>
              <a:gdLst>
                <a:gd name="connsiteX0" fmla="*/ 0 w 710293"/>
                <a:gd name="connsiteY0" fmla="*/ 8164 h 628650"/>
                <a:gd name="connsiteX1" fmla="*/ 8164 w 710293"/>
                <a:gd name="connsiteY1" fmla="*/ 522514 h 628650"/>
                <a:gd name="connsiteX2" fmla="*/ 40821 w 710293"/>
                <a:gd name="connsiteY2" fmla="*/ 547007 h 628650"/>
                <a:gd name="connsiteX3" fmla="*/ 293914 w 710293"/>
                <a:gd name="connsiteY3" fmla="*/ 538842 h 628650"/>
                <a:gd name="connsiteX4" fmla="*/ 236764 w 710293"/>
                <a:gd name="connsiteY4" fmla="*/ 628650 h 628650"/>
                <a:gd name="connsiteX5" fmla="*/ 457200 w 710293"/>
                <a:gd name="connsiteY5" fmla="*/ 628650 h 628650"/>
                <a:gd name="connsiteX6" fmla="*/ 440871 w 710293"/>
                <a:gd name="connsiteY6" fmla="*/ 530678 h 628650"/>
                <a:gd name="connsiteX7" fmla="*/ 620486 w 710293"/>
                <a:gd name="connsiteY7" fmla="*/ 530678 h 628650"/>
                <a:gd name="connsiteX8" fmla="*/ 620486 w 710293"/>
                <a:gd name="connsiteY8" fmla="*/ 530678 h 628650"/>
                <a:gd name="connsiteX9" fmla="*/ 710293 w 710293"/>
                <a:gd name="connsiteY9" fmla="*/ 481692 h 628650"/>
                <a:gd name="connsiteX10" fmla="*/ 710293 w 710293"/>
                <a:gd name="connsiteY10" fmla="*/ 48985 h 628650"/>
                <a:gd name="connsiteX11" fmla="*/ 710293 w 710293"/>
                <a:gd name="connsiteY11" fmla="*/ 48985 h 628650"/>
                <a:gd name="connsiteX12" fmla="*/ 653143 w 710293"/>
                <a:gd name="connsiteY12" fmla="*/ 0 h 628650"/>
                <a:gd name="connsiteX13" fmla="*/ 122464 w 710293"/>
                <a:gd name="connsiteY13" fmla="*/ 8164 h 628650"/>
                <a:gd name="connsiteX14" fmla="*/ 0 w 710293"/>
                <a:gd name="connsiteY14" fmla="*/ 8164 h 628650"/>
                <a:gd name="connsiteX0" fmla="*/ 0 w 710293"/>
                <a:gd name="connsiteY0" fmla="*/ 8164 h 628650"/>
                <a:gd name="connsiteX1" fmla="*/ 8164 w 710293"/>
                <a:gd name="connsiteY1" fmla="*/ 522514 h 628650"/>
                <a:gd name="connsiteX2" fmla="*/ 68742 w 710293"/>
                <a:gd name="connsiteY2" fmla="*/ 526067 h 628650"/>
                <a:gd name="connsiteX3" fmla="*/ 293914 w 710293"/>
                <a:gd name="connsiteY3" fmla="*/ 538842 h 628650"/>
                <a:gd name="connsiteX4" fmla="*/ 236764 w 710293"/>
                <a:gd name="connsiteY4" fmla="*/ 628650 h 628650"/>
                <a:gd name="connsiteX5" fmla="*/ 457200 w 710293"/>
                <a:gd name="connsiteY5" fmla="*/ 628650 h 628650"/>
                <a:gd name="connsiteX6" fmla="*/ 440871 w 710293"/>
                <a:gd name="connsiteY6" fmla="*/ 530678 h 628650"/>
                <a:gd name="connsiteX7" fmla="*/ 620486 w 710293"/>
                <a:gd name="connsiteY7" fmla="*/ 530678 h 628650"/>
                <a:gd name="connsiteX8" fmla="*/ 620486 w 710293"/>
                <a:gd name="connsiteY8" fmla="*/ 530678 h 628650"/>
                <a:gd name="connsiteX9" fmla="*/ 710293 w 710293"/>
                <a:gd name="connsiteY9" fmla="*/ 481692 h 628650"/>
                <a:gd name="connsiteX10" fmla="*/ 710293 w 710293"/>
                <a:gd name="connsiteY10" fmla="*/ 48985 h 628650"/>
                <a:gd name="connsiteX11" fmla="*/ 710293 w 710293"/>
                <a:gd name="connsiteY11" fmla="*/ 48985 h 628650"/>
                <a:gd name="connsiteX12" fmla="*/ 653143 w 710293"/>
                <a:gd name="connsiteY12" fmla="*/ 0 h 628650"/>
                <a:gd name="connsiteX13" fmla="*/ 122464 w 710293"/>
                <a:gd name="connsiteY13" fmla="*/ 8164 h 628650"/>
                <a:gd name="connsiteX14" fmla="*/ 0 w 710293"/>
                <a:gd name="connsiteY14" fmla="*/ 8164 h 628650"/>
                <a:gd name="connsiteX0" fmla="*/ 0 w 710293"/>
                <a:gd name="connsiteY0" fmla="*/ 8164 h 628650"/>
                <a:gd name="connsiteX1" fmla="*/ 8164 w 710293"/>
                <a:gd name="connsiteY1" fmla="*/ 501574 h 628650"/>
                <a:gd name="connsiteX2" fmla="*/ 68742 w 710293"/>
                <a:gd name="connsiteY2" fmla="*/ 526067 h 628650"/>
                <a:gd name="connsiteX3" fmla="*/ 293914 w 710293"/>
                <a:gd name="connsiteY3" fmla="*/ 538842 h 628650"/>
                <a:gd name="connsiteX4" fmla="*/ 236764 w 710293"/>
                <a:gd name="connsiteY4" fmla="*/ 628650 h 628650"/>
                <a:gd name="connsiteX5" fmla="*/ 457200 w 710293"/>
                <a:gd name="connsiteY5" fmla="*/ 628650 h 628650"/>
                <a:gd name="connsiteX6" fmla="*/ 440871 w 710293"/>
                <a:gd name="connsiteY6" fmla="*/ 530678 h 628650"/>
                <a:gd name="connsiteX7" fmla="*/ 620486 w 710293"/>
                <a:gd name="connsiteY7" fmla="*/ 530678 h 628650"/>
                <a:gd name="connsiteX8" fmla="*/ 620486 w 710293"/>
                <a:gd name="connsiteY8" fmla="*/ 530678 h 628650"/>
                <a:gd name="connsiteX9" fmla="*/ 710293 w 710293"/>
                <a:gd name="connsiteY9" fmla="*/ 481692 h 628650"/>
                <a:gd name="connsiteX10" fmla="*/ 710293 w 710293"/>
                <a:gd name="connsiteY10" fmla="*/ 48985 h 628650"/>
                <a:gd name="connsiteX11" fmla="*/ 710293 w 710293"/>
                <a:gd name="connsiteY11" fmla="*/ 48985 h 628650"/>
                <a:gd name="connsiteX12" fmla="*/ 653143 w 710293"/>
                <a:gd name="connsiteY12" fmla="*/ 0 h 628650"/>
                <a:gd name="connsiteX13" fmla="*/ 122464 w 710293"/>
                <a:gd name="connsiteY13" fmla="*/ 8164 h 628650"/>
                <a:gd name="connsiteX14" fmla="*/ 0 w 710293"/>
                <a:gd name="connsiteY14" fmla="*/ 8164 h 628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10293" h="628650">
                  <a:moveTo>
                    <a:pt x="0" y="8164"/>
                  </a:moveTo>
                  <a:lnTo>
                    <a:pt x="8164" y="501574"/>
                  </a:lnTo>
                  <a:lnTo>
                    <a:pt x="68742" y="526067"/>
                  </a:lnTo>
                  <a:lnTo>
                    <a:pt x="293914" y="538842"/>
                  </a:lnTo>
                  <a:lnTo>
                    <a:pt x="236764" y="628650"/>
                  </a:lnTo>
                  <a:lnTo>
                    <a:pt x="457200" y="628650"/>
                  </a:lnTo>
                  <a:lnTo>
                    <a:pt x="440871" y="530678"/>
                  </a:lnTo>
                  <a:lnTo>
                    <a:pt x="620486" y="530678"/>
                  </a:lnTo>
                  <a:lnTo>
                    <a:pt x="620486" y="530678"/>
                  </a:lnTo>
                  <a:lnTo>
                    <a:pt x="710293" y="481692"/>
                  </a:lnTo>
                  <a:lnTo>
                    <a:pt x="710293" y="48985"/>
                  </a:lnTo>
                  <a:lnTo>
                    <a:pt x="710293" y="48985"/>
                  </a:lnTo>
                  <a:lnTo>
                    <a:pt x="653143" y="0"/>
                  </a:lnTo>
                  <a:lnTo>
                    <a:pt x="122464" y="8164"/>
                  </a:lnTo>
                  <a:lnTo>
                    <a:pt x="0" y="816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pic>
          <p:nvPicPr>
            <p:cNvPr id="83" name="Grafik 82">
              <a:extLst>
                <a:ext uri="{FF2B5EF4-FFF2-40B4-BE49-F238E27FC236}">
                  <a16:creationId xmlns:a16="http://schemas.microsoft.com/office/drawing/2014/main" id="{85A3D8F6-D9F5-AD45-B181-8FF9DB23DBCB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4903945" y="4528323"/>
              <a:ext cx="734701" cy="734701"/>
            </a:xfrm>
            <a:prstGeom prst="rect">
              <a:avLst/>
            </a:prstGeom>
          </p:spPr>
        </p:pic>
      </p:grpSp>
      <p:pic>
        <p:nvPicPr>
          <p:cNvPr id="96" name="Grafik 95">
            <a:extLst>
              <a:ext uri="{FF2B5EF4-FFF2-40B4-BE49-F238E27FC236}">
                <a16:creationId xmlns:a16="http://schemas.microsoft.com/office/drawing/2014/main" id="{9642EA21-8934-0844-A1C2-EAEF1580C556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4859195" y="3219823"/>
            <a:ext cx="2473610" cy="823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12936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195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1226917-A3B5-5649-A436-1C5A2B4B1A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F8ADAF1-C1EB-334F-9143-221672A259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8E11BD2-FD10-4CA5-825D-7D4E9ADB06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24.05.22</a:t>
            </a:r>
            <a:endParaRPr lang="de-DE" noProof="0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DF50B1DA-E66F-4570-A2A3-B0A4E399B5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noProof="0" dirty="0"/>
              <a:t>© Fraunhofer FOKUS – Informationsklassifizierung: öffentlich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B7BB715-532B-49A9-AE23-2DF7C1694A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41" name="Abgerundetes Rechteck 40">
            <a:extLst>
              <a:ext uri="{FF2B5EF4-FFF2-40B4-BE49-F238E27FC236}">
                <a16:creationId xmlns:a16="http://schemas.microsoft.com/office/drawing/2014/main" id="{DA874A3C-98DE-5143-91A9-B90F80C695F6}"/>
              </a:ext>
            </a:extLst>
          </p:cNvPr>
          <p:cNvSpPr/>
          <p:nvPr/>
        </p:nvSpPr>
        <p:spPr bwMode="auto">
          <a:xfrm>
            <a:off x="3573744" y="1866310"/>
            <a:ext cx="5010979" cy="185650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28575" cap="flat" cmpd="sng">
            <a:solidFill>
              <a:schemeClr val="accent2">
                <a:alpha val="80000"/>
              </a:schemeClr>
            </a:solidFill>
            <a:prstDash val="solid"/>
            <a:round/>
            <a:headEnd/>
            <a:tailEnd/>
          </a:ln>
          <a:effectLst/>
        </p:spPr>
        <p:txBody>
          <a:bodyPr lIns="0" tIns="0" rIns="0" bIns="0" rtlCol="0" anchor="ctr">
            <a:noAutofit/>
          </a:bodyPr>
          <a:lstStyle/>
          <a:p>
            <a:pPr lvl="0" algn="ctr" defTabSz="1219444">
              <a:defRPr/>
            </a:pPr>
            <a:endParaRPr lang="de-DE" sz="1400" b="1" kern="0" dirty="0">
              <a:latin typeface="+mj-lt"/>
            </a:endParaRP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19870726-E848-5342-AC91-4ED4D379D981}"/>
              </a:ext>
            </a:extLst>
          </p:cNvPr>
          <p:cNvSpPr txBox="1"/>
          <p:nvPr/>
        </p:nvSpPr>
        <p:spPr>
          <a:xfrm>
            <a:off x="3623369" y="1950947"/>
            <a:ext cx="12537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>
                <a:latin typeface="+mj-lt"/>
              </a:rPr>
              <a:t>Machine A</a:t>
            </a:r>
          </a:p>
        </p:txBody>
      </p:sp>
      <p:sp>
        <p:nvSpPr>
          <p:cNvPr id="30" name="Abgerundetes Rechteck 29">
            <a:extLst>
              <a:ext uri="{FF2B5EF4-FFF2-40B4-BE49-F238E27FC236}">
                <a16:creationId xmlns:a16="http://schemas.microsoft.com/office/drawing/2014/main" id="{17C3B221-4222-D645-AA37-F2309F9EFC3F}"/>
              </a:ext>
            </a:extLst>
          </p:cNvPr>
          <p:cNvSpPr/>
          <p:nvPr/>
        </p:nvSpPr>
        <p:spPr bwMode="auto">
          <a:xfrm>
            <a:off x="978223" y="4041287"/>
            <a:ext cx="2704662" cy="1224191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28575" cap="flat" cmpd="sng">
            <a:solidFill>
              <a:schemeClr val="accent4">
                <a:alpha val="80000"/>
              </a:schemeClr>
            </a:solidFill>
            <a:prstDash val="solid"/>
            <a:round/>
            <a:headEnd/>
            <a:tailEnd/>
          </a:ln>
          <a:effectLst/>
        </p:spPr>
        <p:txBody>
          <a:bodyPr lIns="0" tIns="0" rIns="0" bIns="0" rtlCol="0" anchor="ctr">
            <a:noAutofit/>
          </a:bodyPr>
          <a:lstStyle/>
          <a:p>
            <a:pPr lvl="0" algn="ctr" defTabSz="1219444">
              <a:defRPr/>
            </a:pPr>
            <a:endParaRPr lang="de-DE" sz="1400" b="1" kern="0" dirty="0">
              <a:latin typeface="+mj-lt"/>
            </a:endParaRP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EE56396C-A4B3-1342-B689-7B9AAC7D33FC}"/>
              </a:ext>
            </a:extLst>
          </p:cNvPr>
          <p:cNvSpPr txBox="1"/>
          <p:nvPr/>
        </p:nvSpPr>
        <p:spPr>
          <a:xfrm>
            <a:off x="1010364" y="4108371"/>
            <a:ext cx="12537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>
                <a:latin typeface="+mj-lt"/>
              </a:rPr>
              <a:t>Machine B</a:t>
            </a:r>
          </a:p>
        </p:txBody>
      </p:sp>
      <p:sp>
        <p:nvSpPr>
          <p:cNvPr id="32" name="Abgerundetes Rechteck 31">
            <a:extLst>
              <a:ext uri="{FF2B5EF4-FFF2-40B4-BE49-F238E27FC236}">
                <a16:creationId xmlns:a16="http://schemas.microsoft.com/office/drawing/2014/main" id="{A34745CF-367C-4F47-AAEB-4A4403927D71}"/>
              </a:ext>
            </a:extLst>
          </p:cNvPr>
          <p:cNvSpPr/>
          <p:nvPr/>
        </p:nvSpPr>
        <p:spPr bwMode="auto">
          <a:xfrm>
            <a:off x="8547175" y="4041287"/>
            <a:ext cx="2704662" cy="1224191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28575" cap="flat" cmpd="sng">
            <a:solidFill>
              <a:schemeClr val="accent3">
                <a:alpha val="80000"/>
              </a:schemeClr>
            </a:solidFill>
            <a:prstDash val="solid"/>
            <a:round/>
            <a:headEnd/>
            <a:tailEnd/>
          </a:ln>
          <a:effectLst/>
        </p:spPr>
        <p:txBody>
          <a:bodyPr lIns="0" tIns="0" rIns="0" bIns="0" rtlCol="0" anchor="ctr">
            <a:noAutofit/>
          </a:bodyPr>
          <a:lstStyle/>
          <a:p>
            <a:pPr lvl="0" algn="ctr" defTabSz="1219444">
              <a:defRPr/>
            </a:pPr>
            <a:endParaRPr lang="de-DE" sz="1400" b="1" kern="0" dirty="0">
              <a:latin typeface="+mj-lt"/>
            </a:endParaRP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F7EB28DA-2E83-A140-9EBB-6D9A261F9B5F}"/>
              </a:ext>
            </a:extLst>
          </p:cNvPr>
          <p:cNvSpPr txBox="1"/>
          <p:nvPr/>
        </p:nvSpPr>
        <p:spPr>
          <a:xfrm>
            <a:off x="8559091" y="4108371"/>
            <a:ext cx="12537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>
                <a:latin typeface="+mj-lt"/>
              </a:rPr>
              <a:t>Machine D</a:t>
            </a:r>
          </a:p>
        </p:txBody>
      </p:sp>
      <p:sp>
        <p:nvSpPr>
          <p:cNvPr id="34" name="Abgerundetes Rechteck 33">
            <a:extLst>
              <a:ext uri="{FF2B5EF4-FFF2-40B4-BE49-F238E27FC236}">
                <a16:creationId xmlns:a16="http://schemas.microsoft.com/office/drawing/2014/main" id="{3E4EADC2-8370-9A4B-9128-7EDE28BE39A7}"/>
              </a:ext>
            </a:extLst>
          </p:cNvPr>
          <p:cNvSpPr/>
          <p:nvPr/>
        </p:nvSpPr>
        <p:spPr bwMode="auto">
          <a:xfrm>
            <a:off x="4754534" y="4041287"/>
            <a:ext cx="2704662" cy="1224191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28575" cap="flat" cmpd="sng">
            <a:solidFill>
              <a:schemeClr val="accent1">
                <a:alpha val="80000"/>
              </a:schemeClr>
            </a:solidFill>
            <a:prstDash val="solid"/>
            <a:round/>
            <a:headEnd/>
            <a:tailEnd/>
          </a:ln>
          <a:effectLst/>
        </p:spPr>
        <p:txBody>
          <a:bodyPr lIns="0" tIns="0" rIns="0" bIns="0" rtlCol="0" anchor="ctr">
            <a:noAutofit/>
          </a:bodyPr>
          <a:lstStyle/>
          <a:p>
            <a:pPr lvl="0" algn="ctr" defTabSz="1219444">
              <a:defRPr/>
            </a:pPr>
            <a:endParaRPr lang="de-DE" sz="1400" b="1" kern="0" dirty="0">
              <a:latin typeface="+mj-lt"/>
            </a:endParaRP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C8D37018-480F-C84C-9492-D503DDB2246C}"/>
              </a:ext>
            </a:extLst>
          </p:cNvPr>
          <p:cNvSpPr txBox="1"/>
          <p:nvPr/>
        </p:nvSpPr>
        <p:spPr>
          <a:xfrm>
            <a:off x="4789995" y="4108371"/>
            <a:ext cx="12537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>
                <a:latin typeface="+mj-lt"/>
              </a:rPr>
              <a:t>Machine C</a:t>
            </a:r>
          </a:p>
        </p:txBody>
      </p:sp>
      <p:sp>
        <p:nvSpPr>
          <p:cNvPr id="36" name="Ellipse 3">
            <a:extLst>
              <a:ext uri="{FF2B5EF4-FFF2-40B4-BE49-F238E27FC236}">
                <a16:creationId xmlns:a16="http://schemas.microsoft.com/office/drawing/2014/main" id="{B8787F2B-F539-844A-9528-72E057EB919A}"/>
              </a:ext>
            </a:extLst>
          </p:cNvPr>
          <p:cNvSpPr/>
          <p:nvPr/>
        </p:nvSpPr>
        <p:spPr>
          <a:xfrm>
            <a:off x="3904088" y="2986702"/>
            <a:ext cx="4392820" cy="483105"/>
          </a:xfrm>
          <a:prstGeom prst="rect">
            <a:avLst/>
          </a:prstGeom>
          <a:noFill/>
          <a:ln w="28575">
            <a:solidFill>
              <a:schemeClr val="tx2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QuantumNetworkServer</a:t>
            </a:r>
            <a:endParaRPr kumimoji="0" lang="de-DE" sz="14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37" name="Ellipse 4">
            <a:extLst>
              <a:ext uri="{FF2B5EF4-FFF2-40B4-BE49-F238E27FC236}">
                <a16:creationId xmlns:a16="http://schemas.microsoft.com/office/drawing/2014/main" id="{A832E7C7-E658-AE49-AE73-EE2B55426E4E}"/>
              </a:ext>
            </a:extLst>
          </p:cNvPr>
          <p:cNvSpPr/>
          <p:nvPr/>
        </p:nvSpPr>
        <p:spPr>
          <a:xfrm>
            <a:off x="966306" y="4376020"/>
            <a:ext cx="2728496" cy="6924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rutiger LT Com 45 Light" panose="020B0303030504020204" pitchFamily="34" charset="77"/>
              </a:rPr>
              <a:t>QuantumNetworkClient</a:t>
            </a:r>
            <a:endParaRPr kumimoji="0" lang="de-DE" sz="140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Frutiger LT Com 45 Light" panose="020B0303030504020204" pitchFamily="34" charset="7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rutiger LT Com 45 Light" panose="020B0303030504020204" pitchFamily="34" charset="77"/>
              </a:rPr>
              <a:t>„Alice“</a:t>
            </a:r>
          </a:p>
        </p:txBody>
      </p:sp>
      <p:sp>
        <p:nvSpPr>
          <p:cNvPr id="38" name="Ellipse 23">
            <a:extLst>
              <a:ext uri="{FF2B5EF4-FFF2-40B4-BE49-F238E27FC236}">
                <a16:creationId xmlns:a16="http://schemas.microsoft.com/office/drawing/2014/main" id="{2B475448-F8D1-0543-9B64-B1CC676A3B0F}"/>
              </a:ext>
            </a:extLst>
          </p:cNvPr>
          <p:cNvSpPr/>
          <p:nvPr/>
        </p:nvSpPr>
        <p:spPr>
          <a:xfrm>
            <a:off x="4766451" y="4376020"/>
            <a:ext cx="2692745" cy="6924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rutiger LT Com 45 Light" panose="020B0303030504020204" pitchFamily="34" charset="77"/>
              </a:rPr>
              <a:t>QuantumNetworkClient</a:t>
            </a:r>
            <a:endParaRPr kumimoji="0" lang="de-DE" sz="140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Frutiger LT Com 45 Light" panose="020B0303030504020204" pitchFamily="34" charset="7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rutiger LT Com 45 Light" panose="020B0303030504020204" pitchFamily="34" charset="77"/>
              </a:rPr>
              <a:t>„Bob“</a:t>
            </a:r>
          </a:p>
        </p:txBody>
      </p:sp>
      <p:sp>
        <p:nvSpPr>
          <p:cNvPr id="39" name="Ellipse 24">
            <a:extLst>
              <a:ext uri="{FF2B5EF4-FFF2-40B4-BE49-F238E27FC236}">
                <a16:creationId xmlns:a16="http://schemas.microsoft.com/office/drawing/2014/main" id="{E807391B-8A1B-6C49-9E8E-1E9BCA211D22}"/>
              </a:ext>
            </a:extLst>
          </p:cNvPr>
          <p:cNvSpPr/>
          <p:nvPr/>
        </p:nvSpPr>
        <p:spPr>
          <a:xfrm>
            <a:off x="8542762" y="4376020"/>
            <a:ext cx="2671015" cy="6924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rutiger LT Com 45 Light" panose="020B0303030504020204" pitchFamily="34" charset="77"/>
              </a:rPr>
              <a:t>QuantumNetworkClient</a:t>
            </a:r>
            <a:endParaRPr kumimoji="0" lang="de-DE" sz="140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Frutiger LT Com 45 Light" panose="020B0303030504020204" pitchFamily="34" charset="7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</a:rPr>
              <a:t>„Charlie“</a:t>
            </a:r>
          </a:p>
        </p:txBody>
      </p:sp>
      <p:cxnSp>
        <p:nvCxnSpPr>
          <p:cNvPr id="13" name="Gewinkelte Verbindung 12">
            <a:extLst>
              <a:ext uri="{FF2B5EF4-FFF2-40B4-BE49-F238E27FC236}">
                <a16:creationId xmlns:a16="http://schemas.microsoft.com/office/drawing/2014/main" id="{E5A4C270-7842-E04B-9E57-CFD46F2C3487}"/>
              </a:ext>
            </a:extLst>
          </p:cNvPr>
          <p:cNvCxnSpPr>
            <a:cxnSpLocks/>
            <a:stCxn id="36" idx="1"/>
            <a:endCxn id="30" idx="0"/>
          </p:cNvCxnSpPr>
          <p:nvPr/>
        </p:nvCxnSpPr>
        <p:spPr>
          <a:xfrm rot="10800000" flipV="1">
            <a:off x="2330554" y="3228255"/>
            <a:ext cx="1573534" cy="813032"/>
          </a:xfrm>
          <a:prstGeom prst="bentConnector2">
            <a:avLst/>
          </a:prstGeom>
          <a:ln w="31750" cap="rnd" cmpd="sng">
            <a:solidFill>
              <a:schemeClr val="tx2"/>
            </a:solidFill>
            <a:headEnd type="triangle" w="lg" len="med"/>
            <a:tailEnd type="triangl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Gewinkelte Verbindung 14">
            <a:extLst>
              <a:ext uri="{FF2B5EF4-FFF2-40B4-BE49-F238E27FC236}">
                <a16:creationId xmlns:a16="http://schemas.microsoft.com/office/drawing/2014/main" id="{2B57964B-E8A3-984D-8186-9878ADF3AA7F}"/>
              </a:ext>
            </a:extLst>
          </p:cNvPr>
          <p:cNvCxnSpPr>
            <a:cxnSpLocks/>
            <a:stCxn id="36" idx="3"/>
            <a:endCxn id="32" idx="0"/>
          </p:cNvCxnSpPr>
          <p:nvPr/>
        </p:nvCxnSpPr>
        <p:spPr>
          <a:xfrm>
            <a:off x="8296908" y="3228255"/>
            <a:ext cx="1602598" cy="813032"/>
          </a:xfrm>
          <a:prstGeom prst="bentConnector2">
            <a:avLst/>
          </a:prstGeom>
          <a:ln w="31750" cap="rnd" cmpd="sng">
            <a:solidFill>
              <a:schemeClr val="tx2"/>
            </a:solidFill>
            <a:headEnd type="triangle" w="lg" len="med"/>
            <a:tailEnd type="triangl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700A152E-FAED-1341-9CCE-E2E32186977B}"/>
              </a:ext>
            </a:extLst>
          </p:cNvPr>
          <p:cNvCxnSpPr>
            <a:cxnSpLocks/>
            <a:stCxn id="36" idx="2"/>
            <a:endCxn id="34" idx="0"/>
          </p:cNvCxnSpPr>
          <p:nvPr/>
        </p:nvCxnSpPr>
        <p:spPr>
          <a:xfrm>
            <a:off x="6100498" y="3469807"/>
            <a:ext cx="6367" cy="571480"/>
          </a:xfrm>
          <a:prstGeom prst="straightConnector1">
            <a:avLst/>
          </a:prstGeom>
          <a:ln w="31750" cap="rnd" cmpd="sng">
            <a:solidFill>
              <a:schemeClr val="tx2"/>
            </a:solidFill>
            <a:headEnd type="triangle" w="lg" len="med"/>
            <a:tailEnd type="triangl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Textfeld 51">
            <a:extLst>
              <a:ext uri="{FF2B5EF4-FFF2-40B4-BE49-F238E27FC236}">
                <a16:creationId xmlns:a16="http://schemas.microsoft.com/office/drawing/2014/main" id="{13557B11-15EE-164B-87BE-7E3789FBE43D}"/>
              </a:ext>
            </a:extLst>
          </p:cNvPr>
          <p:cNvSpPr txBox="1"/>
          <p:nvPr/>
        </p:nvSpPr>
        <p:spPr>
          <a:xfrm>
            <a:off x="4092918" y="5429845"/>
            <a:ext cx="405692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latin typeface="+mj-lt"/>
              </a:rPr>
              <a:t>Classical communication via external interfaces</a:t>
            </a:r>
          </a:p>
        </p:txBody>
      </p: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A528B268-F7FA-704C-95E7-E993FAB6EA65}"/>
              </a:ext>
            </a:extLst>
          </p:cNvPr>
          <p:cNvCxnSpPr>
            <a:cxnSpLocks/>
            <a:stCxn id="34" idx="1"/>
            <a:endCxn id="30" idx="3"/>
          </p:cNvCxnSpPr>
          <p:nvPr/>
        </p:nvCxnSpPr>
        <p:spPr>
          <a:xfrm flipH="1">
            <a:off x="3682885" y="4653383"/>
            <a:ext cx="1071649" cy="0"/>
          </a:xfrm>
          <a:prstGeom prst="straightConnector1">
            <a:avLst/>
          </a:prstGeom>
          <a:ln w="31750" cap="rnd" cmpd="sng">
            <a:solidFill>
              <a:schemeClr val="accent2"/>
            </a:solidFill>
            <a:headEnd type="triangle" w="lg" len="med"/>
            <a:tailEnd type="triangl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82" name="Gruppieren 81">
            <a:extLst>
              <a:ext uri="{FF2B5EF4-FFF2-40B4-BE49-F238E27FC236}">
                <a16:creationId xmlns:a16="http://schemas.microsoft.com/office/drawing/2014/main" id="{52C06F05-F32B-794F-B1E2-D2E933BC22FD}"/>
              </a:ext>
            </a:extLst>
          </p:cNvPr>
          <p:cNvGrpSpPr/>
          <p:nvPr/>
        </p:nvGrpSpPr>
        <p:grpSpPr>
          <a:xfrm>
            <a:off x="3902530" y="2402189"/>
            <a:ext cx="4392384" cy="471188"/>
            <a:chOff x="3926575" y="2451176"/>
            <a:chExt cx="4190386" cy="471188"/>
          </a:xfrm>
        </p:grpSpPr>
        <p:sp>
          <p:nvSpPr>
            <p:cNvPr id="65" name="Rechteck 64">
              <a:extLst>
                <a:ext uri="{FF2B5EF4-FFF2-40B4-BE49-F238E27FC236}">
                  <a16:creationId xmlns:a16="http://schemas.microsoft.com/office/drawing/2014/main" id="{210BE3A8-6E25-C149-9A00-3A120DE8B496}"/>
                </a:ext>
              </a:extLst>
            </p:cNvPr>
            <p:cNvSpPr/>
            <p:nvPr/>
          </p:nvSpPr>
          <p:spPr>
            <a:xfrm>
              <a:off x="3926575" y="2451176"/>
              <a:ext cx="1296000" cy="46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</a:rPr>
                <a:t>Quantum </a:t>
              </a:r>
              <a:r>
                <a:rPr kumimoji="0" lang="de-DE" sz="1200" u="none" strike="noStrike" kern="1200" cap="none" spc="0" normalizeH="0" baseline="0" noProof="0" dirty="0" err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</a:rPr>
                <a:t>simulator</a:t>
              </a:r>
              <a:endParaRPr kumimoji="0" lang="de-DE" sz="12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69" name="Rechteck 68">
              <a:extLst>
                <a:ext uri="{FF2B5EF4-FFF2-40B4-BE49-F238E27FC236}">
                  <a16:creationId xmlns:a16="http://schemas.microsoft.com/office/drawing/2014/main" id="{BF12205A-56A8-694C-A23E-C5C060C567FF}"/>
                </a:ext>
              </a:extLst>
            </p:cNvPr>
            <p:cNvSpPr/>
            <p:nvPr/>
          </p:nvSpPr>
          <p:spPr>
            <a:xfrm>
              <a:off x="6820961" y="2451176"/>
              <a:ext cx="1296000" cy="46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u="none" strike="noStrike" kern="1200" cap="none" spc="0" normalizeH="0" baseline="0" noProof="0" dirty="0" err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</a:rPr>
                <a:t>Qubit</a:t>
              </a:r>
              <a:r>
                <a:rPr kumimoji="0" lang="de-DE" sz="120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</a:rPr>
                <a:t> </a:t>
              </a:r>
              <a:r>
                <a:rPr kumimoji="0" lang="de-DE" sz="1200" u="none" strike="noStrike" kern="1200" cap="none" spc="0" normalizeH="0" baseline="0" noProof="0" dirty="0" err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</a:rPr>
                <a:t>transfer</a:t>
              </a:r>
              <a:endParaRPr kumimoji="0" lang="de-DE" sz="12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70" name="Rechteck 69">
              <a:extLst>
                <a:ext uri="{FF2B5EF4-FFF2-40B4-BE49-F238E27FC236}">
                  <a16:creationId xmlns:a16="http://schemas.microsoft.com/office/drawing/2014/main" id="{AD564523-8ED8-EC41-B79C-56AD33D92191}"/>
                </a:ext>
              </a:extLst>
            </p:cNvPr>
            <p:cNvSpPr/>
            <p:nvPr/>
          </p:nvSpPr>
          <p:spPr>
            <a:xfrm>
              <a:off x="5391325" y="2454364"/>
              <a:ext cx="1296000" cy="46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u="none" strike="noStrike" kern="1200" cap="none" spc="0" normalizeH="0" baseline="0" noProof="0" dirty="0" err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</a:rPr>
                <a:t>Participant</a:t>
              </a:r>
              <a:r>
                <a:rPr kumimoji="0" lang="de-DE" sz="120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</a:rPr>
                <a:t> </a:t>
              </a:r>
              <a:r>
                <a:rPr kumimoji="0" lang="de-DE" sz="1200" u="none" strike="noStrike" kern="1200" cap="none" spc="0" normalizeH="0" baseline="0" noProof="0" dirty="0" err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</a:rPr>
                <a:t>management</a:t>
              </a:r>
              <a:endParaRPr kumimoji="0" lang="de-DE" sz="12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endParaRPr>
            </a:p>
          </p:txBody>
        </p:sp>
      </p:grpSp>
      <p:sp>
        <p:nvSpPr>
          <p:cNvPr id="71" name="Textfeld 70">
            <a:extLst>
              <a:ext uri="{FF2B5EF4-FFF2-40B4-BE49-F238E27FC236}">
                <a16:creationId xmlns:a16="http://schemas.microsoft.com/office/drawing/2014/main" id="{AF209396-DEC6-164B-A031-BF478902BA38}"/>
              </a:ext>
            </a:extLst>
          </p:cNvPr>
          <p:cNvSpPr txBox="1"/>
          <p:nvPr/>
        </p:nvSpPr>
        <p:spPr>
          <a:xfrm>
            <a:off x="8913509" y="2529317"/>
            <a:ext cx="173827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rPr>
              <a:t>Quantum </a:t>
            </a:r>
            <a:r>
              <a:rPr kumimoji="0" lang="de-DE" sz="120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+mj-lt"/>
              </a:rPr>
              <a:t>algorithm</a:t>
            </a:r>
            <a:r>
              <a:rPr kumimoji="0" lang="de-DE" sz="12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rPr>
              <a:t> </a:t>
            </a:r>
            <a:r>
              <a:rPr kumimoji="0" lang="de-DE" sz="120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+mj-lt"/>
              </a:rPr>
              <a:t>simulation</a:t>
            </a:r>
            <a:r>
              <a:rPr kumimoji="0" lang="de-DE" sz="12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rPr>
              <a:t> and </a:t>
            </a:r>
            <a:r>
              <a:rPr kumimoji="0" lang="en-US" sz="12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rPr>
              <a:t>quantum</a:t>
            </a:r>
            <a:r>
              <a:rPr kumimoji="0" lang="de-DE" sz="12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rPr>
              <a:t> </a:t>
            </a:r>
            <a:r>
              <a:rPr kumimoji="0" lang="de-DE" sz="120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+mj-lt"/>
              </a:rPr>
              <a:t>communication</a:t>
            </a:r>
            <a:endParaRPr kumimoji="0" lang="en-US" sz="120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</a:endParaRPr>
          </a:p>
        </p:txBody>
      </p:sp>
      <p:cxnSp>
        <p:nvCxnSpPr>
          <p:cNvPr id="84" name="Gewinkelte Verbindung 83">
            <a:extLst>
              <a:ext uri="{FF2B5EF4-FFF2-40B4-BE49-F238E27FC236}">
                <a16:creationId xmlns:a16="http://schemas.microsoft.com/office/drawing/2014/main" id="{FFC16193-C4C9-194E-BEB4-4CA45D7597D1}"/>
              </a:ext>
            </a:extLst>
          </p:cNvPr>
          <p:cNvCxnSpPr>
            <a:cxnSpLocks/>
            <a:stCxn id="30" idx="2"/>
            <a:endCxn id="32" idx="2"/>
          </p:cNvCxnSpPr>
          <p:nvPr/>
        </p:nvCxnSpPr>
        <p:spPr>
          <a:xfrm rot="16200000" flipH="1">
            <a:off x="6115030" y="1481002"/>
            <a:ext cx="12700" cy="7568952"/>
          </a:xfrm>
          <a:prstGeom prst="bentConnector3">
            <a:avLst>
              <a:gd name="adj1" fmla="val 4371433"/>
            </a:avLst>
          </a:prstGeom>
          <a:ln w="31750" cap="rnd" cmpd="sng">
            <a:solidFill>
              <a:schemeClr val="accent2"/>
            </a:solidFill>
            <a:headEnd type="triangle" w="lg" len="med"/>
            <a:tailEnd type="triangl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mit Pfeil 110">
            <a:extLst>
              <a:ext uri="{FF2B5EF4-FFF2-40B4-BE49-F238E27FC236}">
                <a16:creationId xmlns:a16="http://schemas.microsoft.com/office/drawing/2014/main" id="{5C51E3AD-EB62-2F48-870F-2ADB3DB5B4AA}"/>
              </a:ext>
            </a:extLst>
          </p:cNvPr>
          <p:cNvCxnSpPr>
            <a:cxnSpLocks/>
          </p:cNvCxnSpPr>
          <p:nvPr/>
        </p:nvCxnSpPr>
        <p:spPr>
          <a:xfrm flipH="1">
            <a:off x="7471113" y="4653383"/>
            <a:ext cx="1071649" cy="0"/>
          </a:xfrm>
          <a:prstGeom prst="straightConnector1">
            <a:avLst/>
          </a:prstGeom>
          <a:ln w="31750" cap="rnd" cmpd="sng">
            <a:solidFill>
              <a:schemeClr val="accent2"/>
            </a:solidFill>
            <a:headEnd type="triangle" w="lg" len="med"/>
            <a:tailEnd type="triangl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73210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Rechteck 65">
            <a:extLst>
              <a:ext uri="{FF2B5EF4-FFF2-40B4-BE49-F238E27FC236}">
                <a16:creationId xmlns:a16="http://schemas.microsoft.com/office/drawing/2014/main" id="{122E7192-5875-9444-813F-BED89050DE93}"/>
              </a:ext>
            </a:extLst>
          </p:cNvPr>
          <p:cNvSpPr/>
          <p:nvPr/>
        </p:nvSpPr>
        <p:spPr>
          <a:xfrm>
            <a:off x="7378715" y="1985232"/>
            <a:ext cx="426560" cy="372294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6"/>
            </a:solidFill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mote Backend</a:t>
            </a:r>
          </a:p>
        </p:txBody>
      </p:sp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02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5DEFF7BF-8207-E84D-9E9C-176D51C433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F164287-68AD-A643-B61E-8FF5E11760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8E11BD2-FD10-4CA5-825D-7D4E9ADB06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/>
              <a:t>24.05.22</a:t>
            </a:r>
            <a:endParaRPr lang="de-DE" noProof="0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DF50B1DA-E66F-4570-A2A3-B0A4E399B5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noProof="0" dirty="0"/>
              <a:t>© Fraunhofer FOKUS – Informationsklassifizierung: öffentlich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B7BB715-532B-49A9-AE23-2DF7C1694A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94CC00B1-52DA-DA40-9433-193DAFDBA07B}"/>
              </a:ext>
            </a:extLst>
          </p:cNvPr>
          <p:cNvSpPr/>
          <p:nvPr/>
        </p:nvSpPr>
        <p:spPr>
          <a:xfrm>
            <a:off x="775121" y="1985232"/>
            <a:ext cx="2299440" cy="454588"/>
          </a:xfrm>
          <a:prstGeom prst="rect">
            <a:avLst/>
          </a:prstGeom>
          <a:solidFill>
            <a:schemeClr val="tx2">
              <a:alpha val="53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QuantumVariabl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0</a:t>
            </a: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9EC1E781-27F3-7A40-90E4-F7FB68DCF203}"/>
              </a:ext>
            </a:extLst>
          </p:cNvPr>
          <p:cNvSpPr/>
          <p:nvPr/>
        </p:nvSpPr>
        <p:spPr>
          <a:xfrm>
            <a:off x="766662" y="2692395"/>
            <a:ext cx="2299440" cy="454588"/>
          </a:xfrm>
          <a:prstGeom prst="rect">
            <a:avLst/>
          </a:prstGeom>
          <a:solidFill>
            <a:schemeClr val="tx2">
              <a:alpha val="53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QuantumVariabl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1</a:t>
            </a:r>
          </a:p>
        </p:txBody>
      </p:sp>
      <p:sp>
        <p:nvSpPr>
          <p:cNvPr id="45" name="Abgerundetes Rechteck 44">
            <a:extLst>
              <a:ext uri="{FF2B5EF4-FFF2-40B4-BE49-F238E27FC236}">
                <a16:creationId xmlns:a16="http://schemas.microsoft.com/office/drawing/2014/main" id="{CB7EEDAA-3C7A-094A-AF13-5168FD78AD05}"/>
              </a:ext>
            </a:extLst>
          </p:cNvPr>
          <p:cNvSpPr/>
          <p:nvPr/>
        </p:nvSpPr>
        <p:spPr bwMode="auto">
          <a:xfrm>
            <a:off x="3769620" y="1985232"/>
            <a:ext cx="3017646" cy="3727426"/>
          </a:xfrm>
          <a:prstGeom prst="roundRect">
            <a:avLst>
              <a:gd name="adj" fmla="val 0"/>
            </a:avLst>
          </a:prstGeom>
          <a:solidFill>
            <a:schemeClr val="bg2">
              <a:lumMod val="75000"/>
              <a:alpha val="40000"/>
            </a:schemeClr>
          </a:solidFill>
          <a:ln w="28575" cap="flat" cmpd="sng">
            <a:solidFill>
              <a:schemeClr val="accent2">
                <a:alpha val="80000"/>
              </a:schemeClr>
            </a:solidFill>
            <a:prstDash val="solid"/>
            <a:round/>
            <a:headEnd/>
            <a:tailEnd/>
          </a:ln>
          <a:effectLst/>
        </p:spPr>
        <p:txBody>
          <a:bodyPr lIns="0" tIns="0" rIns="0" bIns="0" rtlCol="0" anchor="ctr">
            <a:noAutofit/>
          </a:bodyPr>
          <a:lstStyle/>
          <a:p>
            <a:pPr lvl="0" algn="ctr" defTabSz="1219444">
              <a:defRPr/>
            </a:pPr>
            <a:endParaRPr lang="de-DE" sz="1400" b="1" kern="0" dirty="0">
              <a:latin typeface="+mj-lt"/>
            </a:endParaRP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D29F7E2A-E352-0447-8469-8398B112D153}"/>
              </a:ext>
            </a:extLst>
          </p:cNvPr>
          <p:cNvSpPr txBox="1"/>
          <p:nvPr/>
        </p:nvSpPr>
        <p:spPr>
          <a:xfrm>
            <a:off x="3898116" y="2057460"/>
            <a:ext cx="237713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600" dirty="0" err="1">
                <a:latin typeface="+mj-lt"/>
              </a:rPr>
              <a:t>QuantumSession</a:t>
            </a:r>
            <a:endParaRPr lang="en-US" sz="1600" dirty="0">
              <a:latin typeface="+mj-lt"/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E061FA6F-8B16-4544-89EF-D2F1C028820B}"/>
              </a:ext>
            </a:extLst>
          </p:cNvPr>
          <p:cNvSpPr/>
          <p:nvPr/>
        </p:nvSpPr>
        <p:spPr>
          <a:xfrm>
            <a:off x="3951903" y="3814257"/>
            <a:ext cx="2642077" cy="46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de-DE" sz="1200" dirty="0" err="1">
                <a:solidFill>
                  <a:schemeClr val="bg1"/>
                </a:solidFill>
                <a:latin typeface="+mj-lt"/>
              </a:rPr>
              <a:t>QuantumEnvironment</a:t>
            </a:r>
            <a:r>
              <a:rPr lang="de-DE" sz="12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200" dirty="0" err="1">
                <a:solidFill>
                  <a:schemeClr val="bg1"/>
                </a:solidFill>
                <a:latin typeface="+mj-lt"/>
              </a:rPr>
              <a:t>level</a:t>
            </a:r>
            <a:r>
              <a:rPr lang="de-DE" sz="1200" dirty="0">
                <a:solidFill>
                  <a:schemeClr val="bg1"/>
                </a:solidFill>
                <a:latin typeface="+mj-lt"/>
              </a:rPr>
              <a:t>: 2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B10E5196-514E-1844-8CDC-4E2D50981377}"/>
              </a:ext>
            </a:extLst>
          </p:cNvPr>
          <p:cNvSpPr/>
          <p:nvPr/>
        </p:nvSpPr>
        <p:spPr>
          <a:xfrm>
            <a:off x="3951903" y="5068496"/>
            <a:ext cx="2642077" cy="46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de-DE" sz="1200" dirty="0" err="1">
                <a:solidFill>
                  <a:schemeClr val="bg1"/>
                </a:solidFill>
                <a:latin typeface="+mj-lt"/>
              </a:rPr>
              <a:t>QuantumEnvironment</a:t>
            </a:r>
            <a:r>
              <a:rPr lang="de-DE" sz="12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200" dirty="0" err="1">
                <a:solidFill>
                  <a:schemeClr val="bg1"/>
                </a:solidFill>
                <a:latin typeface="+mj-lt"/>
              </a:rPr>
              <a:t>level</a:t>
            </a:r>
            <a:r>
              <a:rPr lang="de-DE" sz="1200" dirty="0">
                <a:solidFill>
                  <a:schemeClr val="bg1"/>
                </a:solidFill>
                <a:latin typeface="+mj-lt"/>
              </a:rPr>
              <a:t>: 0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95672251-B13A-8F41-BBC6-F46E1DB977C3}"/>
              </a:ext>
            </a:extLst>
          </p:cNvPr>
          <p:cNvSpPr/>
          <p:nvPr/>
        </p:nvSpPr>
        <p:spPr>
          <a:xfrm>
            <a:off x="3951903" y="4442833"/>
            <a:ext cx="2642077" cy="46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de-DE" sz="1200" dirty="0" err="1">
                <a:solidFill>
                  <a:schemeClr val="bg1"/>
                </a:solidFill>
                <a:latin typeface="+mj-lt"/>
              </a:rPr>
              <a:t>QuantumEnvironment</a:t>
            </a:r>
            <a:r>
              <a:rPr lang="de-DE" sz="12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200" dirty="0" err="1">
                <a:solidFill>
                  <a:schemeClr val="bg1"/>
                </a:solidFill>
                <a:latin typeface="+mj-lt"/>
              </a:rPr>
              <a:t>level</a:t>
            </a:r>
            <a:r>
              <a:rPr lang="de-DE" sz="1200" dirty="0">
                <a:solidFill>
                  <a:schemeClr val="bg1"/>
                </a:solidFill>
                <a:latin typeface="+mj-lt"/>
              </a:rPr>
              <a:t>: 1</a:t>
            </a:r>
          </a:p>
        </p:txBody>
      </p:sp>
      <p:sp>
        <p:nvSpPr>
          <p:cNvPr id="58" name="Ellipse 3">
            <a:extLst>
              <a:ext uri="{FF2B5EF4-FFF2-40B4-BE49-F238E27FC236}">
                <a16:creationId xmlns:a16="http://schemas.microsoft.com/office/drawing/2014/main" id="{1E3F12FB-81AF-D546-84BD-8C5C376F0116}"/>
              </a:ext>
            </a:extLst>
          </p:cNvPr>
          <p:cNvSpPr/>
          <p:nvPr/>
        </p:nvSpPr>
        <p:spPr>
          <a:xfrm>
            <a:off x="3951903" y="2553676"/>
            <a:ext cx="2642077" cy="1016879"/>
          </a:xfrm>
          <a:prstGeom prst="rect">
            <a:avLst/>
          </a:prstGeom>
          <a:solidFill>
            <a:schemeClr val="accent2">
              <a:alpha val="51000"/>
            </a:schemeClr>
          </a:solidFill>
          <a:ln w="28575">
            <a:solidFill>
              <a:schemeClr val="accent3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/>
            <a:r>
              <a:rPr lang="de-DE" sz="1600" dirty="0" err="1">
                <a:solidFill>
                  <a:prstClr val="black"/>
                </a:solidFill>
                <a:latin typeface="+mj-lt"/>
              </a:rPr>
              <a:t>QuantumCircuit</a:t>
            </a:r>
            <a:endParaRPr lang="de-DE" sz="1600" dirty="0">
              <a:solidFill>
                <a:prstClr val="black"/>
              </a:solidFill>
              <a:latin typeface="+mj-lt"/>
            </a:endParaRPr>
          </a:p>
        </p:txBody>
      </p:sp>
      <p:graphicFrame>
        <p:nvGraphicFramePr>
          <p:cNvPr id="59" name="Tabelle 58">
            <a:extLst>
              <a:ext uri="{FF2B5EF4-FFF2-40B4-BE49-F238E27FC236}">
                <a16:creationId xmlns:a16="http://schemas.microsoft.com/office/drawing/2014/main" id="{41B1C3FD-B730-B549-B0B7-DAC06057BC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6426930"/>
              </p:ext>
            </p:extLst>
          </p:nvPr>
        </p:nvGraphicFramePr>
        <p:xfrm>
          <a:off x="766662" y="3412375"/>
          <a:ext cx="2299440" cy="2300286"/>
        </p:xfrm>
        <a:graphic>
          <a:graphicData uri="http://schemas.openxmlformats.org/drawingml/2006/table">
            <a:tbl>
              <a:tblPr firstRow="1" bandRow="1">
                <a:tableStyleId>{16D9F66E-5EB9-4882-86FB-DCBF35E3C3E4}</a:tableStyleId>
              </a:tblPr>
              <a:tblGrid>
                <a:gridCol w="383240">
                  <a:extLst>
                    <a:ext uri="{9D8B030D-6E8A-4147-A177-3AD203B41FA5}">
                      <a16:colId xmlns:a16="http://schemas.microsoft.com/office/drawing/2014/main" val="824782524"/>
                    </a:ext>
                  </a:extLst>
                </a:gridCol>
                <a:gridCol w="383240">
                  <a:extLst>
                    <a:ext uri="{9D8B030D-6E8A-4147-A177-3AD203B41FA5}">
                      <a16:colId xmlns:a16="http://schemas.microsoft.com/office/drawing/2014/main" val="1432519718"/>
                    </a:ext>
                  </a:extLst>
                </a:gridCol>
                <a:gridCol w="383240">
                  <a:extLst>
                    <a:ext uri="{9D8B030D-6E8A-4147-A177-3AD203B41FA5}">
                      <a16:colId xmlns:a16="http://schemas.microsoft.com/office/drawing/2014/main" val="1049303043"/>
                    </a:ext>
                  </a:extLst>
                </a:gridCol>
                <a:gridCol w="383240">
                  <a:extLst>
                    <a:ext uri="{9D8B030D-6E8A-4147-A177-3AD203B41FA5}">
                      <a16:colId xmlns:a16="http://schemas.microsoft.com/office/drawing/2014/main" val="3638584317"/>
                    </a:ext>
                  </a:extLst>
                </a:gridCol>
                <a:gridCol w="383240">
                  <a:extLst>
                    <a:ext uri="{9D8B030D-6E8A-4147-A177-3AD203B41FA5}">
                      <a16:colId xmlns:a16="http://schemas.microsoft.com/office/drawing/2014/main" val="1819418670"/>
                    </a:ext>
                  </a:extLst>
                </a:gridCol>
                <a:gridCol w="383240">
                  <a:extLst>
                    <a:ext uri="{9D8B030D-6E8A-4147-A177-3AD203B41FA5}">
                      <a16:colId xmlns:a16="http://schemas.microsoft.com/office/drawing/2014/main" val="2052842948"/>
                    </a:ext>
                  </a:extLst>
                </a:gridCol>
              </a:tblGrid>
              <a:tr h="383381"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DE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DE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DE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DE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DE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DE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132188"/>
                  </a:ext>
                </a:extLst>
              </a:tr>
              <a:tr h="383381"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DE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DE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DE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DE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DE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DE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6815176"/>
                  </a:ext>
                </a:extLst>
              </a:tr>
              <a:tr h="383381">
                <a:tc>
                  <a:txBody>
                    <a:bodyPr/>
                    <a:lstStyle/>
                    <a:p>
                      <a:endParaRPr lang="en-US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DE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DE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DE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DE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DE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DE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0274693"/>
                  </a:ext>
                </a:extLst>
              </a:tr>
              <a:tr h="383381">
                <a:tc>
                  <a:txBody>
                    <a:bodyPr/>
                    <a:lstStyle/>
                    <a:p>
                      <a:endParaRPr lang="en-US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DE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DE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b="1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DE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DE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DE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DE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6018863"/>
                  </a:ext>
                </a:extLst>
              </a:tr>
              <a:tr h="383381">
                <a:tc>
                  <a:txBody>
                    <a:bodyPr/>
                    <a:lstStyle/>
                    <a:p>
                      <a:endParaRPr lang="en-US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DE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DE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b="1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DE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DE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DE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DE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2014684"/>
                  </a:ext>
                </a:extLst>
              </a:tr>
              <a:tr h="383381">
                <a:tc>
                  <a:txBody>
                    <a:bodyPr/>
                    <a:lstStyle/>
                    <a:p>
                      <a:endParaRPr lang="en-US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DE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DE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DE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DE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DE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DE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5318178"/>
                  </a:ext>
                </a:extLst>
              </a:tr>
            </a:tbl>
          </a:graphicData>
        </a:graphic>
      </p:graphicFrame>
      <p:sp>
        <p:nvSpPr>
          <p:cNvPr id="43" name="Textfeld 42">
            <a:extLst>
              <a:ext uri="{FF2B5EF4-FFF2-40B4-BE49-F238E27FC236}">
                <a16:creationId xmlns:a16="http://schemas.microsoft.com/office/drawing/2014/main" id="{3061B691-553A-624F-8DC2-0EC3CB6D382F}"/>
              </a:ext>
            </a:extLst>
          </p:cNvPr>
          <p:cNvSpPr txBox="1"/>
          <p:nvPr/>
        </p:nvSpPr>
        <p:spPr>
          <a:xfrm>
            <a:off x="1089743" y="4393023"/>
            <a:ext cx="16523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QuantumArray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E350FB73-C6C8-1A4C-9142-9FABB2BFE04E}"/>
              </a:ext>
            </a:extLst>
          </p:cNvPr>
          <p:cNvSpPr txBox="1"/>
          <p:nvPr/>
        </p:nvSpPr>
        <p:spPr>
          <a:xfrm rot="5400000">
            <a:off x="5907125" y="3605668"/>
            <a:ext cx="33830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Network Interface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BAEABE13-8A90-C94B-A95B-E057AF22045B}"/>
              </a:ext>
            </a:extLst>
          </p:cNvPr>
          <p:cNvSpPr/>
          <p:nvPr/>
        </p:nvSpPr>
        <p:spPr>
          <a:xfrm>
            <a:off x="8396725" y="3063858"/>
            <a:ext cx="3017646" cy="1295845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5"/>
            </a:solidFill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mote Backend</a:t>
            </a:r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27A0F15C-BB6E-EF4E-AD45-12A2E2E67296}"/>
              </a:ext>
            </a:extLst>
          </p:cNvPr>
          <p:cNvSpPr txBox="1"/>
          <p:nvPr/>
        </p:nvSpPr>
        <p:spPr>
          <a:xfrm>
            <a:off x="8915587" y="3552358"/>
            <a:ext cx="194667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latin typeface="+mj-lt"/>
              </a:rPr>
              <a:t>Remote Backend</a:t>
            </a:r>
          </a:p>
        </p:txBody>
      </p: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4EE2FF6E-ECD0-984A-ABDB-BEDE7EE0747A}"/>
              </a:ext>
            </a:extLst>
          </p:cNvPr>
          <p:cNvCxnSpPr>
            <a:cxnSpLocks/>
          </p:cNvCxnSpPr>
          <p:nvPr/>
        </p:nvCxnSpPr>
        <p:spPr>
          <a:xfrm>
            <a:off x="6820516" y="3728310"/>
            <a:ext cx="535487" cy="0"/>
          </a:xfrm>
          <a:prstGeom prst="straightConnector1">
            <a:avLst/>
          </a:prstGeom>
          <a:ln w="31750" cap="rnd" cmpd="sng">
            <a:solidFill>
              <a:srgbClr val="005B7F"/>
            </a:solidFill>
            <a:headEnd type="triangle" w="lg" len="med"/>
            <a:tailEnd type="triangl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Gerade Verbindung mit Pfeil 66">
            <a:extLst>
              <a:ext uri="{FF2B5EF4-FFF2-40B4-BE49-F238E27FC236}">
                <a16:creationId xmlns:a16="http://schemas.microsoft.com/office/drawing/2014/main" id="{C7926369-6803-9D4A-92B8-E49260754DC7}"/>
              </a:ext>
            </a:extLst>
          </p:cNvPr>
          <p:cNvCxnSpPr>
            <a:cxnSpLocks/>
          </p:cNvCxnSpPr>
          <p:nvPr/>
        </p:nvCxnSpPr>
        <p:spPr>
          <a:xfrm>
            <a:off x="7834669" y="3728310"/>
            <a:ext cx="535487" cy="0"/>
          </a:xfrm>
          <a:prstGeom prst="straightConnector1">
            <a:avLst/>
          </a:prstGeom>
          <a:ln w="31750" cap="rnd" cmpd="sng">
            <a:solidFill>
              <a:srgbClr val="005B7F"/>
            </a:solidFill>
            <a:headEnd type="triangle" w="lg" len="med"/>
            <a:tailEnd type="triangl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5D301739-EAE1-9B4C-8D60-C697E9D32E5F}"/>
              </a:ext>
            </a:extLst>
          </p:cNvPr>
          <p:cNvCxnSpPr>
            <a:cxnSpLocks/>
          </p:cNvCxnSpPr>
          <p:nvPr/>
        </p:nvCxnSpPr>
        <p:spPr>
          <a:xfrm>
            <a:off x="3162916" y="2228118"/>
            <a:ext cx="535487" cy="0"/>
          </a:xfrm>
          <a:prstGeom prst="straightConnector1">
            <a:avLst/>
          </a:prstGeom>
          <a:ln w="31750" cap="rnd" cmpd="sng">
            <a:solidFill>
              <a:schemeClr val="tx2"/>
            </a:solidFill>
            <a:headEnd type="triangle" w="lg" len="med"/>
            <a:tailEnd type="triangl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mit Pfeil 71">
            <a:extLst>
              <a:ext uri="{FF2B5EF4-FFF2-40B4-BE49-F238E27FC236}">
                <a16:creationId xmlns:a16="http://schemas.microsoft.com/office/drawing/2014/main" id="{3EB7F323-B786-7947-BD70-BE32A4341485}"/>
              </a:ext>
            </a:extLst>
          </p:cNvPr>
          <p:cNvCxnSpPr>
            <a:cxnSpLocks/>
          </p:cNvCxnSpPr>
          <p:nvPr/>
        </p:nvCxnSpPr>
        <p:spPr>
          <a:xfrm>
            <a:off x="3162916" y="2909761"/>
            <a:ext cx="535487" cy="0"/>
          </a:xfrm>
          <a:prstGeom prst="straightConnector1">
            <a:avLst/>
          </a:prstGeom>
          <a:ln w="31750" cap="rnd" cmpd="sng">
            <a:solidFill>
              <a:schemeClr val="tx2"/>
            </a:solidFill>
            <a:headEnd type="triangle" w="lg" len="med"/>
            <a:tailEnd type="triangl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" name="Gerade Verbindung mit Pfeil 72">
            <a:extLst>
              <a:ext uri="{FF2B5EF4-FFF2-40B4-BE49-F238E27FC236}">
                <a16:creationId xmlns:a16="http://schemas.microsoft.com/office/drawing/2014/main" id="{CFB9C927-D0ED-9745-9925-78CCCF7B0E84}"/>
              </a:ext>
            </a:extLst>
          </p:cNvPr>
          <p:cNvCxnSpPr>
            <a:cxnSpLocks/>
          </p:cNvCxnSpPr>
          <p:nvPr/>
        </p:nvCxnSpPr>
        <p:spPr>
          <a:xfrm>
            <a:off x="3162916" y="3568983"/>
            <a:ext cx="535487" cy="0"/>
          </a:xfrm>
          <a:prstGeom prst="straightConnector1">
            <a:avLst/>
          </a:prstGeom>
          <a:ln w="31750" cap="rnd" cmpd="sng">
            <a:solidFill>
              <a:schemeClr val="tx2"/>
            </a:solidFill>
            <a:headEnd type="triangle" w="lg" len="med"/>
            <a:tailEnd type="triangl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90CC44B7-5184-A848-A9BB-8177107ED09E}"/>
              </a:ext>
            </a:extLst>
          </p:cNvPr>
          <p:cNvSpPr/>
          <p:nvPr/>
        </p:nvSpPr>
        <p:spPr>
          <a:xfrm>
            <a:off x="775121" y="3412375"/>
            <a:ext cx="2290981" cy="2295801"/>
          </a:xfrm>
          <a:prstGeom prst="rect">
            <a:avLst/>
          </a:prstGeom>
          <a:noFill/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62923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raunhofer_Master_16-9">
  <a:themeElements>
    <a:clrScheme name="Benutzerdefiniert 50">
      <a:dk1>
        <a:srgbClr val="000000"/>
      </a:dk1>
      <a:lt1>
        <a:srgbClr val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B90056"/>
      </a:accent3>
      <a:accent4>
        <a:srgbClr val="39C1CD"/>
      </a:accent4>
      <a:accent5>
        <a:srgbClr val="008598"/>
      </a:accent5>
      <a:accent6>
        <a:srgbClr val="B2D235"/>
      </a:accent6>
      <a:hlink>
        <a:srgbClr val="F48200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0" cap="rnd" cmpd="sng">
          <a:solidFill>
            <a:schemeClr val="accent2"/>
          </a:solidFill>
          <a:headEnd w="lg" len="lg"/>
          <a:tailEnd type="triangle" w="lg" len="lg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FOKUS_Master_28022022_sge" id="{93B30F59-59DC-9E49-B633-B9C6FC5821AC}" vid="{79F43ED7-B0E4-B046-B856-E64003CE6C1F}"/>
    </a:ext>
  </a:extLst>
</a:theme>
</file>

<file path=ppt/theme/theme2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9</Words>
  <Application>Microsoft Office PowerPoint</Application>
  <PresentationFormat>Breitbild</PresentationFormat>
  <Paragraphs>46</Paragraphs>
  <Slides>3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11" baseType="lpstr">
      <vt:lpstr>Arial</vt:lpstr>
      <vt:lpstr>Calibri</vt:lpstr>
      <vt:lpstr>Frutiger LT Com 45 Light</vt:lpstr>
      <vt:lpstr>Frutiger LT Com 55 Roman</vt:lpstr>
      <vt:lpstr>Frutiger LT Com 65 Bold</vt:lpstr>
      <vt:lpstr>Wingdings</vt:lpstr>
      <vt:lpstr>Fraunhofer_Master_16-9</vt:lpstr>
      <vt:lpstr>think-cell Folie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Geppert-Dahlhorst, Simone</dc:creator>
  <cp:lastModifiedBy>Seidel, Raphael</cp:lastModifiedBy>
  <cp:revision>109</cp:revision>
  <dcterms:created xsi:type="dcterms:W3CDTF">2022-02-28T12:44:24Z</dcterms:created>
  <dcterms:modified xsi:type="dcterms:W3CDTF">2023-03-30T12:50:57Z</dcterms:modified>
</cp:coreProperties>
</file>